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gif" ContentType="image/gif"/>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3"/>
    <p:sldMasterId id="2147483668" r:id="rId4"/>
  </p:sldMasterIdLst>
  <p:notesMasterIdLst>
    <p:notesMasterId r:id="rId7"/>
  </p:notesMasterIdLst>
  <p:handoutMasterIdLst>
    <p:handoutMasterId r:id="rId15"/>
  </p:handoutMasterIdLst>
  <p:sldIdLst>
    <p:sldId id="280" r:id="rId5"/>
    <p:sldId id="590" r:id="rId6"/>
    <p:sldId id="591" r:id="rId8"/>
    <p:sldId id="593" r:id="rId9"/>
    <p:sldId id="604" r:id="rId10"/>
    <p:sldId id="605" r:id="rId11"/>
    <p:sldId id="606" r:id="rId12"/>
    <p:sldId id="607" r:id="rId13"/>
    <p:sldId id="60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4" d="100"/>
          <a:sy n="64" d="100"/>
        </p:scale>
        <p:origin x="48" y="3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880"/>
        <p:guide pos="219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 Type="http://schemas.openxmlformats.org/officeDocument/2006/relationships/theme" Target="theme/theme1.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5B5FA4-A16A-4B7E-96BB-4DD9F0840BE1}"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oleObject" Target="../embeddings/oleObject2.bin"/><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6.emf"/><Relationship Id="rId3" Type="http://schemas.openxmlformats.org/officeDocument/2006/relationships/oleObject" Target="../embeddings/oleObject1.bin"/><Relationship Id="rId2" Type="http://schemas.openxmlformats.org/officeDocument/2006/relationships/tags" Target="../tags/tag1.xml"/><Relationship Id="rId11" Type="http://schemas.openxmlformats.org/officeDocument/2006/relationships/vmlDrawing" Target="../drawings/vmlDrawing1.vml"/><Relationship Id="rId10"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oleObject" Target="../embeddings/oleObject4.bin"/><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5.bin"/><Relationship Id="rId3" Type="http://schemas.openxmlformats.org/officeDocument/2006/relationships/tags" Target="../tags/tag10.xml"/><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1F1B079-7EF0-44EE-B798-BCC497C9F3B2}"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8FF70A8-1D13-4657-95F0-A9EA54967B8D}"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1EB90AC-71BD-4C7F-8ACA-7B3F18292E63}"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endParaRPr lang="en-US" sz="8000" dirty="0">
              <a:solidFill>
                <a:schemeClr val="tx1"/>
              </a:solidFill>
              <a:effectLst/>
            </a:endParaRP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endParaRPr lang="en-US" sz="8000" dirty="0">
              <a:solidFill>
                <a:schemeClr val="tx1"/>
              </a:solidFill>
              <a:effectLs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4E6EFC2C-8905-46F0-B443-CE905B76BA01}"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D9079DC3-C9B5-499E-9140-0DC28B7074E2}"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30BB33EA-E472-4D22-9C03-A9C14AA21CED}"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4"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10"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0" y="0"/>
            <a:ext cx="12192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err="1">
              <a:ln>
                <a:noFill/>
              </a:ln>
              <a:solidFill>
                <a:srgbClr val="9F958F">
                  <a:lumMod val="50000"/>
                </a:srgbClr>
              </a:solidFill>
              <a:effectLst/>
              <a:uLnTx/>
              <a:uFillTx/>
              <a:latin typeface="Arial" panose="020B0604020202020204"/>
              <a:ea typeface="+mn-ea"/>
              <a:cs typeface="+mn-cs"/>
            </a:endParaRPr>
          </a:p>
        </p:txBody>
      </p:sp>
      <p:graphicFrame>
        <p:nvGraphicFramePr>
          <p:cNvPr id="13" name="Object 3" hidden="1"/>
          <p:cNvGraphicFramePr>
            <a:graphicFrameLocks noChangeAspect="1"/>
          </p:cNvGraphicFramePr>
          <p:nvPr>
            <p:custDataLst>
              <p:tags r:id="rId7"/>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8" imgW="12700" imgH="12700" progId="">
                  <p:embed/>
                </p:oleObj>
              </mc:Choice>
              <mc:Fallback>
                <p:oleObj name="think-cell Slide" r:id="rId8"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p:nvPr userDrawn="1">
            <p:custDataLst>
              <p:tags r:id="rId9"/>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dirty="0">
              <a:ln>
                <a:noFill/>
              </a:ln>
              <a:solidFill>
                <a:srgbClr val="00264A"/>
              </a:solidFill>
              <a:effectLst/>
              <a:uLnTx/>
              <a:uFillTx/>
              <a:latin typeface="Arial" panose="020B0604020202020204"/>
              <a:ea typeface="+mn-ea"/>
              <a:cs typeface="Arial" panose="020B0604020202020204" pitchFamily="34" charset="0"/>
            </a:endParaRPr>
          </a:p>
        </p:txBody>
      </p:sp>
      <p:pic>
        <p:nvPicPr>
          <p:cNvPr id="15" name="Image 11" descr="HandsPanel_shutterstock_72073621.png"/>
          <p:cNvPicPr>
            <a:picLocks noChangeAspect="1"/>
          </p:cNvPicPr>
          <p:nvPr userDrawn="1"/>
        </p:nvPicPr>
        <p:blipFill>
          <a:blip r:embed="rId10" cstate="print"/>
          <a:srcRect b="8012"/>
          <a:stretch>
            <a:fillRect/>
          </a:stretch>
        </p:blipFill>
        <p:spPr bwMode="auto">
          <a:xfrm>
            <a:off x="1" y="855663"/>
            <a:ext cx="12190047"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522404" y="1442606"/>
            <a:ext cx="5466304" cy="3533155"/>
          </a:xfrm>
        </p:spPr>
        <p:txBody>
          <a:bodyPr/>
          <a:lstStyle>
            <a:lvl1pPr>
              <a:defRPr/>
            </a:lvl1pPr>
            <a:lvl2pPr>
              <a:buFont typeface="Arial" panose="020B0604020202020204" pitchFamily="34" charset="0"/>
              <a:buChar char="•"/>
              <a:defRPr/>
            </a:lvl2pPr>
          </a:lstStyle>
          <a:p>
            <a:pPr lvl="0"/>
            <a:r>
              <a:rPr lang="en-US" noProof="0"/>
              <a:t>Click to edit Master text styles</a:t>
            </a:r>
            <a:endParaRPr lang="en-US" noProof="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7"/>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5161"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2"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
                  <p:embed/>
                </p:oleObj>
              </mc:Choice>
              <mc:Fallback>
                <p:oleObj name="think-cell Slide" r:id="rId4" imgW="12700" imgH="12700" progId="">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6"/>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7"/>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CAE507A8-A5CF-4D38-AB86-7EDDA87A85D4}"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3E0277FD-7DE6-41D4-930D-AC99F5AFE54E}"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9EA15526-7079-4B7B-987C-1B5FAE11A0FF}" type="datetime1">
              <a:rPr lang="en-US" smtClean="0"/>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16.xml"/><Relationship Id="rId8" Type="http://schemas.openxmlformats.org/officeDocument/2006/relationships/tags" Target="../tags/tag15.xml"/><Relationship Id="rId7"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tags" Target="../tags/tag13.xml"/><Relationship Id="rId3" Type="http://schemas.openxmlformats.org/officeDocument/2006/relationships/slideLayout" Target="../slideLayouts/slideLayout18.xml"/><Relationship Id="rId2" Type="http://schemas.openxmlformats.org/officeDocument/2006/relationships/slideLayout" Target="../slideLayouts/slideLayout17.xml"/><Relationship Id="rId16" Type="http://schemas.openxmlformats.org/officeDocument/2006/relationships/theme" Target="../theme/theme2.xml"/><Relationship Id="rId15" Type="http://schemas.openxmlformats.org/officeDocument/2006/relationships/vmlDrawing" Target="../drawings/vmlDrawing4.vml"/><Relationship Id="rId14" Type="http://schemas.openxmlformats.org/officeDocument/2006/relationships/image" Target="../media/image9.jpeg"/><Relationship Id="rId13" Type="http://schemas.openxmlformats.org/officeDocument/2006/relationships/tags" Target="../tags/tag20.xml"/><Relationship Id="rId12" Type="http://schemas.openxmlformats.org/officeDocument/2006/relationships/tags" Target="../tags/tag19.xml"/><Relationship Id="rId11" Type="http://schemas.openxmlformats.org/officeDocument/2006/relationships/tags" Target="../tags/tag18.xml"/><Relationship Id="rId10" Type="http://schemas.openxmlformats.org/officeDocument/2006/relationships/tags" Target="../tags/tag17.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9" Type="http://schemas.openxmlformats.org/officeDocument/2006/relationships/tags" Target="../tags/tag25.xml"/><Relationship Id="rId8" Type="http://schemas.openxmlformats.org/officeDocument/2006/relationships/hyperlink" Target="http://www.facebook.com/Capgemini" TargetMode="External"/><Relationship Id="rId7" Type="http://schemas.openxmlformats.org/officeDocument/2006/relationships/tags" Target="../tags/tag24.xml"/><Relationship Id="rId6" Type="http://schemas.openxmlformats.org/officeDocument/2006/relationships/image" Target="../media/image10.emf"/><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image" Target="../media/image6.emf"/><Relationship Id="rId25" Type="http://schemas.openxmlformats.org/officeDocument/2006/relationships/theme" Target="../theme/theme3.xml"/><Relationship Id="rId24" Type="http://schemas.openxmlformats.org/officeDocument/2006/relationships/vmlDrawing" Target="../drawings/vmlDrawing5.vml"/><Relationship Id="rId23" Type="http://schemas.openxmlformats.org/officeDocument/2006/relationships/image" Target="../media/image16.jpeg"/><Relationship Id="rId22" Type="http://schemas.openxmlformats.org/officeDocument/2006/relationships/image" Target="../media/image15.GIF"/><Relationship Id="rId21" Type="http://schemas.openxmlformats.org/officeDocument/2006/relationships/tags" Target="../tags/tag29.xml"/><Relationship Id="rId20" Type="http://schemas.openxmlformats.org/officeDocument/2006/relationships/hyperlink" Target="http://www.slideshare.net/capgemini" TargetMode="External"/><Relationship Id="rId2" Type="http://schemas.openxmlformats.org/officeDocument/2006/relationships/oleObject" Target="../embeddings/oleObject7.bin"/><Relationship Id="rId19" Type="http://schemas.openxmlformats.org/officeDocument/2006/relationships/image" Target="../media/image14.png"/><Relationship Id="rId18" Type="http://schemas.openxmlformats.org/officeDocument/2006/relationships/tags" Target="../tags/tag28.xml"/><Relationship Id="rId17" Type="http://schemas.openxmlformats.org/officeDocument/2006/relationships/hyperlink" Target="http://www.youtube.com/capgemini" TargetMode="External"/><Relationship Id="rId16" Type="http://schemas.openxmlformats.org/officeDocument/2006/relationships/image" Target="../media/image13.png"/><Relationship Id="rId15" Type="http://schemas.openxmlformats.org/officeDocument/2006/relationships/tags" Target="../tags/tag27.xml"/><Relationship Id="rId14" Type="http://schemas.openxmlformats.org/officeDocument/2006/relationships/hyperlink" Target="http://www.twitter.com/capgemini" TargetMode="External"/><Relationship Id="rId13" Type="http://schemas.openxmlformats.org/officeDocument/2006/relationships/image" Target="../media/image12.png"/><Relationship Id="rId12" Type="http://schemas.openxmlformats.org/officeDocument/2006/relationships/tags" Target="../tags/tag26.xml"/><Relationship Id="rId11" Type="http://schemas.openxmlformats.org/officeDocument/2006/relationships/hyperlink" Target="http://www.linkedin.com/company/capgemini" TargetMode="External"/><Relationship Id="rId10" Type="http://schemas.openxmlformats.org/officeDocument/2006/relationships/image" Target="../media/image11.png"/><Relationship Id="rId1"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4"/>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5" imgW="12700" imgH="12700" progId="">
                  <p:embed/>
                </p:oleObj>
              </mc:Choice>
              <mc:Fallback>
                <p:oleObj name="think-cell Slide" r:id="rId5" imgW="12700" imgH="1270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7"/>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8"/>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endParaRPr lang="en-US"/>
          </a:p>
          <a:p>
            <a:pPr lvl="1"/>
            <a:r>
              <a:rPr lang="en-US"/>
              <a:t>Text style level 2</a:t>
            </a:r>
            <a:endParaRPr lang="en-US"/>
          </a:p>
          <a:p>
            <a:pPr lvl="2"/>
            <a:r>
              <a:rPr lang="en-US"/>
              <a:t>Text style level 3</a:t>
            </a:r>
            <a:endParaRPr lang="en-US"/>
          </a:p>
          <a:p>
            <a:pPr lvl="3"/>
            <a:r>
              <a:rPr lang="en-US"/>
              <a:t>Text style level 4</a:t>
            </a:r>
            <a:endParaRPr lang="en-US"/>
          </a:p>
        </p:txBody>
      </p:sp>
      <p:sp>
        <p:nvSpPr>
          <p:cNvPr id="11" name="TextBox 10"/>
          <p:cNvSpPr txBox="1"/>
          <p:nvPr>
            <p:custDataLst>
              <p:tags r:id="rId9"/>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fld>
            <a:endParaRPr lang="en-US" sz="700" dirty="0">
              <a:solidFill>
                <a:schemeClr val="tx2"/>
              </a:solidFill>
              <a:latin typeface="+mn-lt"/>
              <a:cs typeface="+mn-cs"/>
            </a:endParaRPr>
          </a:p>
        </p:txBody>
      </p:sp>
      <p:sp>
        <p:nvSpPr>
          <p:cNvPr id="9" name="Freeform 4"/>
          <p:cNvSpPr/>
          <p:nvPr>
            <p:custDataLst>
              <p:tags r:id="rId10"/>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1"/>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endParaRPr lang="en-US" altLang="en-US" sz="600" dirty="0">
              <a:solidFill>
                <a:schemeClr val="tx2"/>
              </a:solidFill>
              <a:latin typeface="+mj-lt"/>
              <a:cs typeface="Helvetica Light"/>
            </a:endParaRPr>
          </a:p>
        </p:txBody>
      </p:sp>
      <p:sp>
        <p:nvSpPr>
          <p:cNvPr id="13" name="Rectangle 12"/>
          <p:cNvSpPr/>
          <p:nvPr>
            <p:custDataLst>
              <p:tags r:id="rId12"/>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endParaRPr lang="en-US" sz="700" dirty="0">
              <a:solidFill>
                <a:schemeClr val="tx2"/>
              </a:solidFill>
              <a:latin typeface="+mj-lt"/>
              <a:cs typeface="+mn-cs"/>
            </a:endParaRPr>
          </a:p>
        </p:txBody>
      </p:sp>
      <p:cxnSp>
        <p:nvCxnSpPr>
          <p:cNvPr id="15" name="Straight Connector 5"/>
          <p:cNvCxnSpPr/>
          <p:nvPr>
            <p:custDataLst>
              <p:tags r:id="rId1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4"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314" name="Object 1"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1268" name="think-cell Slide" r:id="rId2" imgW="12700" imgH="12700" progId="">
                  <p:embed/>
                </p:oleObj>
              </mc:Choice>
              <mc:Fallback>
                <p:oleObj name="think-cell Slide" r:id="rId2" imgW="12700" imgH="12700" progId="">
                  <p:embed/>
                  <p:pic>
                    <p:nvPicPr>
                      <p:cNvPr id="0" name="Object 1"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4"/>
            </p:custDataLst>
          </p:nvPr>
        </p:nvSpPr>
        <p:spPr bwMode="auto">
          <a:xfrm flipV="1">
            <a:off x="-1954" y="1677988"/>
            <a:ext cx="12193954"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 name="connsiteX0-1699" fmla="*/ 1331 w 10562411"/>
              <a:gd name="connsiteY0-1700" fmla="*/ 2791 h 3881172"/>
              <a:gd name="connsiteX1-1701" fmla="*/ 10561655 w 10562411"/>
              <a:gd name="connsiteY1-1702" fmla="*/ 0 h 3881172"/>
              <a:gd name="connsiteX2-1703" fmla="*/ 10561157 w 10562411"/>
              <a:gd name="connsiteY2-1704" fmla="*/ 1476338 h 3881172"/>
              <a:gd name="connsiteX3-1705" fmla="*/ 9288594 w 10562411"/>
              <a:gd name="connsiteY3-1706" fmla="*/ 2153103 h 3881172"/>
              <a:gd name="connsiteX4-1707" fmla="*/ 2317558 w 10562411"/>
              <a:gd name="connsiteY4-1708" fmla="*/ 2159512 h 3881172"/>
              <a:gd name="connsiteX5-1709" fmla="*/ 1180889 w 10562411"/>
              <a:gd name="connsiteY5-1710" fmla="*/ 2958168 h 3881172"/>
              <a:gd name="connsiteX6-1711" fmla="*/ 0 w 10562411"/>
              <a:gd name="connsiteY6-1712" fmla="*/ 2174065 h 3881172"/>
              <a:gd name="connsiteX7-1713" fmla="*/ 1331 w 10562411"/>
              <a:gd name="connsiteY7-1714" fmla="*/ 2791 h 3881172"/>
              <a:gd name="connsiteX0-1715" fmla="*/ 1331 w 10562411"/>
              <a:gd name="connsiteY0-1716" fmla="*/ 2791 h 4143392"/>
              <a:gd name="connsiteX1-1717" fmla="*/ 10561655 w 10562411"/>
              <a:gd name="connsiteY1-1718" fmla="*/ 0 h 4143392"/>
              <a:gd name="connsiteX2-1719" fmla="*/ 10561157 w 10562411"/>
              <a:gd name="connsiteY2-1720" fmla="*/ 1476338 h 4143392"/>
              <a:gd name="connsiteX3-1721" fmla="*/ 9288594 w 10562411"/>
              <a:gd name="connsiteY3-1722" fmla="*/ 2153103 h 4143392"/>
              <a:gd name="connsiteX4-1723" fmla="*/ 2317558 w 10562411"/>
              <a:gd name="connsiteY4-1724" fmla="*/ 2159512 h 4143392"/>
              <a:gd name="connsiteX5-1725" fmla="*/ 1180889 w 10562411"/>
              <a:gd name="connsiteY5-1726" fmla="*/ 2958168 h 4143392"/>
              <a:gd name="connsiteX6-1727" fmla="*/ 0 w 10562411"/>
              <a:gd name="connsiteY6-1728" fmla="*/ 2174065 h 4143392"/>
              <a:gd name="connsiteX7-1729" fmla="*/ 1331 w 10562411"/>
              <a:gd name="connsiteY7-1730" fmla="*/ 2791 h 4143392"/>
              <a:gd name="connsiteX0-1731" fmla="*/ 19804 w 10580884"/>
              <a:gd name="connsiteY0-1732" fmla="*/ 2791 h 4143392"/>
              <a:gd name="connsiteX1-1733" fmla="*/ 10580128 w 10580884"/>
              <a:gd name="connsiteY1-1734" fmla="*/ 0 h 4143392"/>
              <a:gd name="connsiteX2-1735" fmla="*/ 10579630 w 10580884"/>
              <a:gd name="connsiteY2-1736" fmla="*/ 1476338 h 4143392"/>
              <a:gd name="connsiteX3-1737" fmla="*/ 9307067 w 10580884"/>
              <a:gd name="connsiteY3-1738" fmla="*/ 2153103 h 4143392"/>
              <a:gd name="connsiteX4-1739" fmla="*/ 2336031 w 10580884"/>
              <a:gd name="connsiteY4-1740" fmla="*/ 2159512 h 4143392"/>
              <a:gd name="connsiteX5-1741" fmla="*/ 1199362 w 10580884"/>
              <a:gd name="connsiteY5-1742" fmla="*/ 2958168 h 4143392"/>
              <a:gd name="connsiteX6-1743" fmla="*/ 0 w 10580884"/>
              <a:gd name="connsiteY6-1744" fmla="*/ 3726419 h 4143392"/>
              <a:gd name="connsiteX7-1745" fmla="*/ 19804 w 10580884"/>
              <a:gd name="connsiteY7-1746" fmla="*/ 2791 h 4143392"/>
              <a:gd name="connsiteX0-1747" fmla="*/ 19804 w 10580884"/>
              <a:gd name="connsiteY0-1748" fmla="*/ 2791 h 4143392"/>
              <a:gd name="connsiteX1-1749" fmla="*/ 10580128 w 10580884"/>
              <a:gd name="connsiteY1-1750" fmla="*/ 0 h 4143392"/>
              <a:gd name="connsiteX2-1751" fmla="*/ 10579630 w 10580884"/>
              <a:gd name="connsiteY2-1752" fmla="*/ 1476338 h 4143392"/>
              <a:gd name="connsiteX3-1753" fmla="*/ 9307067 w 10580884"/>
              <a:gd name="connsiteY3-1754" fmla="*/ 2153103 h 4143392"/>
              <a:gd name="connsiteX4-1755" fmla="*/ 2283533 w 10580884"/>
              <a:gd name="connsiteY4-1756" fmla="*/ 3711866 h 4143392"/>
              <a:gd name="connsiteX5-1757" fmla="*/ 1199362 w 10580884"/>
              <a:gd name="connsiteY5-1758" fmla="*/ 2958168 h 4143392"/>
              <a:gd name="connsiteX6-1759" fmla="*/ 0 w 10580884"/>
              <a:gd name="connsiteY6-1760" fmla="*/ 3726419 h 4143392"/>
              <a:gd name="connsiteX7-1761" fmla="*/ 19804 w 10580884"/>
              <a:gd name="connsiteY7-1762" fmla="*/ 2791 h 4143392"/>
              <a:gd name="connsiteX0-1763" fmla="*/ 19804 w 10580884"/>
              <a:gd name="connsiteY0-1764" fmla="*/ 2791 h 4143392"/>
              <a:gd name="connsiteX1-1765" fmla="*/ 10580128 w 10580884"/>
              <a:gd name="connsiteY1-1766" fmla="*/ 0 h 4143392"/>
              <a:gd name="connsiteX2-1767" fmla="*/ 10579630 w 10580884"/>
              <a:gd name="connsiteY2-1768" fmla="*/ 1476338 h 4143392"/>
              <a:gd name="connsiteX3-1769" fmla="*/ 9013072 w 10580884"/>
              <a:gd name="connsiteY3-1770" fmla="*/ 3716089 h 4143392"/>
              <a:gd name="connsiteX4-1771" fmla="*/ 2283533 w 10580884"/>
              <a:gd name="connsiteY4-1772" fmla="*/ 3711866 h 4143392"/>
              <a:gd name="connsiteX5-1773" fmla="*/ 1199362 w 10580884"/>
              <a:gd name="connsiteY5-1774" fmla="*/ 2958168 h 4143392"/>
              <a:gd name="connsiteX6-1775" fmla="*/ 0 w 10580884"/>
              <a:gd name="connsiteY6-1776" fmla="*/ 3726419 h 4143392"/>
              <a:gd name="connsiteX7-1777" fmla="*/ 19804 w 10580884"/>
              <a:gd name="connsiteY7-1778" fmla="*/ 2791 h 4143392"/>
              <a:gd name="connsiteX0-1779" fmla="*/ 19804 w 10580641"/>
              <a:gd name="connsiteY0-1780" fmla="*/ 2791 h 4143392"/>
              <a:gd name="connsiteX1-1781" fmla="*/ 10580128 w 10580641"/>
              <a:gd name="connsiteY1-1782" fmla="*/ 0 h 4143392"/>
              <a:gd name="connsiteX2-1783" fmla="*/ 10559884 w 10580641"/>
              <a:gd name="connsiteY2-1784" fmla="*/ 3400831 h 4143392"/>
              <a:gd name="connsiteX3-1785" fmla="*/ 9013072 w 10580641"/>
              <a:gd name="connsiteY3-1786" fmla="*/ 3716089 h 4143392"/>
              <a:gd name="connsiteX4-1787" fmla="*/ 2283533 w 10580641"/>
              <a:gd name="connsiteY4-1788" fmla="*/ 3711866 h 4143392"/>
              <a:gd name="connsiteX5-1789" fmla="*/ 1199362 w 10580641"/>
              <a:gd name="connsiteY5-1790" fmla="*/ 2958168 h 4143392"/>
              <a:gd name="connsiteX6-1791" fmla="*/ 0 w 10580641"/>
              <a:gd name="connsiteY6-1792" fmla="*/ 3726419 h 4143392"/>
              <a:gd name="connsiteX7-1793" fmla="*/ 19804 w 10580641"/>
              <a:gd name="connsiteY7-1794" fmla="*/ 2791 h 4143392"/>
              <a:gd name="connsiteX0-1795" fmla="*/ 19804 w 10580641"/>
              <a:gd name="connsiteY0-1796" fmla="*/ 2791 h 4625733"/>
              <a:gd name="connsiteX1-1797" fmla="*/ 10580128 w 10580641"/>
              <a:gd name="connsiteY1-1798" fmla="*/ 0 h 4625733"/>
              <a:gd name="connsiteX2-1799" fmla="*/ 10559883 w 10580641"/>
              <a:gd name="connsiteY2-1800" fmla="*/ 3953724 h 4625733"/>
              <a:gd name="connsiteX3-1801" fmla="*/ 9013072 w 10580641"/>
              <a:gd name="connsiteY3-1802" fmla="*/ 3716089 h 4625733"/>
              <a:gd name="connsiteX4-1803" fmla="*/ 2283533 w 10580641"/>
              <a:gd name="connsiteY4-1804" fmla="*/ 3711866 h 4625733"/>
              <a:gd name="connsiteX5-1805" fmla="*/ 1199362 w 10580641"/>
              <a:gd name="connsiteY5-1806" fmla="*/ 2958168 h 4625733"/>
              <a:gd name="connsiteX6-1807" fmla="*/ 0 w 10580641"/>
              <a:gd name="connsiteY6-1808" fmla="*/ 3726419 h 4625733"/>
              <a:gd name="connsiteX7-1809" fmla="*/ 19804 w 10580641"/>
              <a:gd name="connsiteY7-1810" fmla="*/ 2791 h 4625733"/>
              <a:gd name="connsiteX0-1811" fmla="*/ 19804 w 10580641"/>
              <a:gd name="connsiteY0-1812" fmla="*/ 2791 h 4143392"/>
              <a:gd name="connsiteX1-1813" fmla="*/ 10580128 w 10580641"/>
              <a:gd name="connsiteY1-1814" fmla="*/ 0 h 4143392"/>
              <a:gd name="connsiteX2-1815" fmla="*/ 10559883 w 10580641"/>
              <a:gd name="connsiteY2-1816" fmla="*/ 3953724 h 4143392"/>
              <a:gd name="connsiteX3-1817" fmla="*/ 9013072 w 10580641"/>
              <a:gd name="connsiteY3-1818" fmla="*/ 3716089 h 4143392"/>
              <a:gd name="connsiteX4-1819" fmla="*/ 2283533 w 10580641"/>
              <a:gd name="connsiteY4-1820" fmla="*/ 3711866 h 4143392"/>
              <a:gd name="connsiteX5-1821" fmla="*/ 1199362 w 10580641"/>
              <a:gd name="connsiteY5-1822" fmla="*/ 2958168 h 4143392"/>
              <a:gd name="connsiteX6-1823" fmla="*/ 0 w 10580641"/>
              <a:gd name="connsiteY6-1824" fmla="*/ 3726419 h 4143392"/>
              <a:gd name="connsiteX7-1825" fmla="*/ 19804 w 10580641"/>
              <a:gd name="connsiteY7-1826" fmla="*/ 2791 h 4143392"/>
              <a:gd name="connsiteX0-1827" fmla="*/ 19804 w 10580641"/>
              <a:gd name="connsiteY0-1828" fmla="*/ 2791 h 4143392"/>
              <a:gd name="connsiteX1-1829" fmla="*/ 10580128 w 10580641"/>
              <a:gd name="connsiteY1-1830" fmla="*/ 0 h 4143392"/>
              <a:gd name="connsiteX2-1831" fmla="*/ 10559883 w 10580641"/>
              <a:gd name="connsiteY2-1832" fmla="*/ 3953724 h 4143392"/>
              <a:gd name="connsiteX3-1833" fmla="*/ 9013072 w 10580641"/>
              <a:gd name="connsiteY3-1834" fmla="*/ 3716089 h 4143392"/>
              <a:gd name="connsiteX4-1835" fmla="*/ 2283533 w 10580641"/>
              <a:gd name="connsiteY4-1836" fmla="*/ 3711866 h 4143392"/>
              <a:gd name="connsiteX5-1837" fmla="*/ 1199362 w 10580641"/>
              <a:gd name="connsiteY5-1838" fmla="*/ 2958168 h 4143392"/>
              <a:gd name="connsiteX6-1839" fmla="*/ 0 w 10580641"/>
              <a:gd name="connsiteY6-1840" fmla="*/ 3726419 h 4143392"/>
              <a:gd name="connsiteX7-1841" fmla="*/ 19804 w 10580641"/>
              <a:gd name="connsiteY7-1842" fmla="*/ 2791 h 4143392"/>
              <a:gd name="connsiteX0-1843" fmla="*/ 19804 w 10580641"/>
              <a:gd name="connsiteY0-1844" fmla="*/ 2791 h 3953724"/>
              <a:gd name="connsiteX1-1845" fmla="*/ 10580128 w 10580641"/>
              <a:gd name="connsiteY1-1846" fmla="*/ 0 h 3953724"/>
              <a:gd name="connsiteX2-1847" fmla="*/ 10559883 w 10580641"/>
              <a:gd name="connsiteY2-1848" fmla="*/ 3953724 h 3953724"/>
              <a:gd name="connsiteX3-1849" fmla="*/ 9013072 w 10580641"/>
              <a:gd name="connsiteY3-1850" fmla="*/ 3716089 h 3953724"/>
              <a:gd name="connsiteX4-1851" fmla="*/ 2283533 w 10580641"/>
              <a:gd name="connsiteY4-1852" fmla="*/ 3711866 h 3953724"/>
              <a:gd name="connsiteX5-1853" fmla="*/ 1199362 w 10580641"/>
              <a:gd name="connsiteY5-1854" fmla="*/ 2958168 h 3953724"/>
              <a:gd name="connsiteX6-1855" fmla="*/ 0 w 10580641"/>
              <a:gd name="connsiteY6-1856" fmla="*/ 3726419 h 3953724"/>
              <a:gd name="connsiteX7-1857" fmla="*/ 19804 w 10580641"/>
              <a:gd name="connsiteY7-1858" fmla="*/ 2791 h 3953724"/>
              <a:gd name="connsiteX0-1859" fmla="*/ 19804 w 10580641"/>
              <a:gd name="connsiteY0-1860" fmla="*/ 2791 h 3953724"/>
              <a:gd name="connsiteX1-1861" fmla="*/ 10580128 w 10580641"/>
              <a:gd name="connsiteY1-1862" fmla="*/ 0 h 3953724"/>
              <a:gd name="connsiteX2-1863" fmla="*/ 10559883 w 10580641"/>
              <a:gd name="connsiteY2-1864" fmla="*/ 3953724 h 3953724"/>
              <a:gd name="connsiteX3-1865" fmla="*/ 9013072 w 10580641"/>
              <a:gd name="connsiteY3-1866" fmla="*/ 3716089 h 3953724"/>
              <a:gd name="connsiteX4-1867" fmla="*/ 2283533 w 10580641"/>
              <a:gd name="connsiteY4-1868" fmla="*/ 3711866 h 3953724"/>
              <a:gd name="connsiteX5-1869" fmla="*/ 1199362 w 10580641"/>
              <a:gd name="connsiteY5-1870" fmla="*/ 2958168 h 3953724"/>
              <a:gd name="connsiteX6-1871" fmla="*/ 0 w 10580641"/>
              <a:gd name="connsiteY6-1872" fmla="*/ 3726419 h 3953724"/>
              <a:gd name="connsiteX7-1873" fmla="*/ 19804 w 10580641"/>
              <a:gd name="connsiteY7-1874" fmla="*/ 2791 h 3953724"/>
              <a:gd name="connsiteX0-1875" fmla="*/ 19804 w 10580641"/>
              <a:gd name="connsiteY0-1876" fmla="*/ 2791 h 3953724"/>
              <a:gd name="connsiteX1-1877" fmla="*/ 10580128 w 10580641"/>
              <a:gd name="connsiteY1-1878" fmla="*/ 0 h 3953724"/>
              <a:gd name="connsiteX2-1879" fmla="*/ 10559883 w 10580641"/>
              <a:gd name="connsiteY2-1880" fmla="*/ 3953724 h 3953724"/>
              <a:gd name="connsiteX3-1881" fmla="*/ 9013072 w 10580641"/>
              <a:gd name="connsiteY3-1882" fmla="*/ 3716089 h 3953724"/>
              <a:gd name="connsiteX4-1883" fmla="*/ 2283533 w 10580641"/>
              <a:gd name="connsiteY4-1884" fmla="*/ 3711866 h 3953724"/>
              <a:gd name="connsiteX5-1885" fmla="*/ 1199362 w 10580641"/>
              <a:gd name="connsiteY5-1886" fmla="*/ 2958168 h 3953724"/>
              <a:gd name="connsiteX6-1887" fmla="*/ 0 w 10580641"/>
              <a:gd name="connsiteY6-1888" fmla="*/ 3726419 h 3953724"/>
              <a:gd name="connsiteX7-1889" fmla="*/ 19804 w 10580641"/>
              <a:gd name="connsiteY7-1890" fmla="*/ 2791 h 3953724"/>
              <a:gd name="connsiteX0-1891" fmla="*/ 19804 w 10580641"/>
              <a:gd name="connsiteY0-1892" fmla="*/ 2791 h 3953724"/>
              <a:gd name="connsiteX1-1893" fmla="*/ 10580128 w 10580641"/>
              <a:gd name="connsiteY1-1894" fmla="*/ 0 h 3953724"/>
              <a:gd name="connsiteX2-1895" fmla="*/ 10559883 w 10580641"/>
              <a:gd name="connsiteY2-1896" fmla="*/ 3953724 h 3953724"/>
              <a:gd name="connsiteX3-1897" fmla="*/ 9013072 w 10580641"/>
              <a:gd name="connsiteY3-1898" fmla="*/ 3716089 h 3953724"/>
              <a:gd name="connsiteX4-1899" fmla="*/ 2283533 w 10580641"/>
              <a:gd name="connsiteY4-1900" fmla="*/ 3711866 h 3953724"/>
              <a:gd name="connsiteX5-1901" fmla="*/ 1199362 w 10580641"/>
              <a:gd name="connsiteY5-1902" fmla="*/ 2958168 h 3953724"/>
              <a:gd name="connsiteX6-1903" fmla="*/ 0 w 10580641"/>
              <a:gd name="connsiteY6-1904" fmla="*/ 3726419 h 3953724"/>
              <a:gd name="connsiteX7-1905" fmla="*/ 19804 w 10580641"/>
              <a:gd name="connsiteY7-1906" fmla="*/ 2791 h 3953724"/>
              <a:gd name="connsiteX0-1907" fmla="*/ 19804 w 10580641"/>
              <a:gd name="connsiteY0-1908" fmla="*/ 2791 h 3953724"/>
              <a:gd name="connsiteX1-1909" fmla="*/ 10580128 w 10580641"/>
              <a:gd name="connsiteY1-1910" fmla="*/ 0 h 3953724"/>
              <a:gd name="connsiteX2-1911" fmla="*/ 10559883 w 10580641"/>
              <a:gd name="connsiteY2-1912" fmla="*/ 3953724 h 3953724"/>
              <a:gd name="connsiteX3-1913" fmla="*/ 9013072 w 10580641"/>
              <a:gd name="connsiteY3-1914" fmla="*/ 3716089 h 3953724"/>
              <a:gd name="connsiteX4-1915" fmla="*/ 2283533 w 10580641"/>
              <a:gd name="connsiteY4-1916" fmla="*/ 3711866 h 3953724"/>
              <a:gd name="connsiteX5-1917" fmla="*/ 1199362 w 10580641"/>
              <a:gd name="connsiteY5-1918" fmla="*/ 2958168 h 3953724"/>
              <a:gd name="connsiteX6-1919" fmla="*/ 0 w 10580641"/>
              <a:gd name="connsiteY6-1920" fmla="*/ 3779582 h 3953724"/>
              <a:gd name="connsiteX7-1921" fmla="*/ 19804 w 10580641"/>
              <a:gd name="connsiteY7-1922" fmla="*/ 2791 h 3953724"/>
              <a:gd name="connsiteX0-1923" fmla="*/ 19804 w 10580641"/>
              <a:gd name="connsiteY0-1924" fmla="*/ 2791 h 3953724"/>
              <a:gd name="connsiteX1-1925" fmla="*/ 10580128 w 10580641"/>
              <a:gd name="connsiteY1-1926" fmla="*/ 0 h 3953724"/>
              <a:gd name="connsiteX2-1927" fmla="*/ 10559883 w 10580641"/>
              <a:gd name="connsiteY2-1928" fmla="*/ 3953724 h 3953724"/>
              <a:gd name="connsiteX3-1929" fmla="*/ 9013072 w 10580641"/>
              <a:gd name="connsiteY3-1930" fmla="*/ 3716089 h 3953724"/>
              <a:gd name="connsiteX4-1931" fmla="*/ 2283533 w 10580641"/>
              <a:gd name="connsiteY4-1932" fmla="*/ 3711866 h 3953724"/>
              <a:gd name="connsiteX5-1933" fmla="*/ 1199362 w 10580641"/>
              <a:gd name="connsiteY5-1934" fmla="*/ 2958168 h 3953724"/>
              <a:gd name="connsiteX6-1935" fmla="*/ 0 w 10580641"/>
              <a:gd name="connsiteY6-1936" fmla="*/ 3779582 h 3953724"/>
              <a:gd name="connsiteX7-1937" fmla="*/ 19804 w 10580641"/>
              <a:gd name="connsiteY7-1938" fmla="*/ 2791 h 3953724"/>
              <a:gd name="connsiteX0-1939" fmla="*/ 19804 w 10580641"/>
              <a:gd name="connsiteY0-1940" fmla="*/ 2791 h 3953724"/>
              <a:gd name="connsiteX1-1941" fmla="*/ 10580128 w 10580641"/>
              <a:gd name="connsiteY1-1942" fmla="*/ 0 h 3953724"/>
              <a:gd name="connsiteX2-1943" fmla="*/ 10559883 w 10580641"/>
              <a:gd name="connsiteY2-1944" fmla="*/ 3953724 h 3953724"/>
              <a:gd name="connsiteX3-1945" fmla="*/ 9013072 w 10580641"/>
              <a:gd name="connsiteY3-1946" fmla="*/ 3716089 h 3953724"/>
              <a:gd name="connsiteX4-1947" fmla="*/ 2283533 w 10580641"/>
              <a:gd name="connsiteY4-1948" fmla="*/ 3711866 h 3953724"/>
              <a:gd name="connsiteX5-1949" fmla="*/ 1199362 w 10580641"/>
              <a:gd name="connsiteY5-1950" fmla="*/ 2958168 h 3953724"/>
              <a:gd name="connsiteX6-1951" fmla="*/ 0 w 10580641"/>
              <a:gd name="connsiteY6-1952" fmla="*/ 3779582 h 3953724"/>
              <a:gd name="connsiteX7-1953" fmla="*/ 19804 w 10580641"/>
              <a:gd name="connsiteY7-1954" fmla="*/ 2791 h 3953724"/>
              <a:gd name="connsiteX0-1955" fmla="*/ 19804 w 10580641"/>
              <a:gd name="connsiteY0-1956" fmla="*/ 2791 h 3953724"/>
              <a:gd name="connsiteX1-1957" fmla="*/ 10580128 w 10580641"/>
              <a:gd name="connsiteY1-1958" fmla="*/ 0 h 3953724"/>
              <a:gd name="connsiteX2-1959" fmla="*/ 10559883 w 10580641"/>
              <a:gd name="connsiteY2-1960" fmla="*/ 3953724 h 3953724"/>
              <a:gd name="connsiteX3-1961" fmla="*/ 9013072 w 10580641"/>
              <a:gd name="connsiteY3-1962" fmla="*/ 3716089 h 3953724"/>
              <a:gd name="connsiteX4-1963" fmla="*/ 2283533 w 10580641"/>
              <a:gd name="connsiteY4-1964" fmla="*/ 3711866 h 3953724"/>
              <a:gd name="connsiteX5-1965" fmla="*/ 1199362 w 10580641"/>
              <a:gd name="connsiteY5-1966" fmla="*/ 2958168 h 3953724"/>
              <a:gd name="connsiteX6-1967" fmla="*/ 0 w 10580641"/>
              <a:gd name="connsiteY6-1968" fmla="*/ 3737052 h 3953724"/>
              <a:gd name="connsiteX7-1969" fmla="*/ 19804 w 10580641"/>
              <a:gd name="connsiteY7-1970" fmla="*/ 2791 h 3953724"/>
              <a:gd name="connsiteX0-1971" fmla="*/ 0 w 10581837"/>
              <a:gd name="connsiteY0-1972" fmla="*/ 13424 h 3953724"/>
              <a:gd name="connsiteX1-1973" fmla="*/ 10581324 w 10581837"/>
              <a:gd name="connsiteY1-1974" fmla="*/ 0 h 3953724"/>
              <a:gd name="connsiteX2-1975" fmla="*/ 10561079 w 10581837"/>
              <a:gd name="connsiteY2-1976" fmla="*/ 3953724 h 3953724"/>
              <a:gd name="connsiteX3-1977" fmla="*/ 9014268 w 10581837"/>
              <a:gd name="connsiteY3-1978" fmla="*/ 3716089 h 3953724"/>
              <a:gd name="connsiteX4-1979" fmla="*/ 2284729 w 10581837"/>
              <a:gd name="connsiteY4-1980" fmla="*/ 3711866 h 3953724"/>
              <a:gd name="connsiteX5-1981" fmla="*/ 1200558 w 10581837"/>
              <a:gd name="connsiteY5-1982" fmla="*/ 2958168 h 3953724"/>
              <a:gd name="connsiteX6-1983" fmla="*/ 1196 w 10581837"/>
              <a:gd name="connsiteY6-1984" fmla="*/ 3737052 h 3953724"/>
              <a:gd name="connsiteX7-1985" fmla="*/ 0 w 10581837"/>
              <a:gd name="connsiteY7-1986" fmla="*/ 13424 h 3953724"/>
              <a:gd name="connsiteX0-1987" fmla="*/ 0 w 10562333"/>
              <a:gd name="connsiteY0-1988" fmla="*/ 24056 h 3964356"/>
              <a:gd name="connsiteX1-1989" fmla="*/ 10549824 w 10562333"/>
              <a:gd name="connsiteY1-1990" fmla="*/ 0 h 3964356"/>
              <a:gd name="connsiteX2-1991" fmla="*/ 10561079 w 10562333"/>
              <a:gd name="connsiteY2-1992" fmla="*/ 3964356 h 3964356"/>
              <a:gd name="connsiteX3-1993" fmla="*/ 9014268 w 10562333"/>
              <a:gd name="connsiteY3-1994" fmla="*/ 3726721 h 3964356"/>
              <a:gd name="connsiteX4-1995" fmla="*/ 2284729 w 10562333"/>
              <a:gd name="connsiteY4-1996" fmla="*/ 3722498 h 3964356"/>
              <a:gd name="connsiteX5-1997" fmla="*/ 1200558 w 10562333"/>
              <a:gd name="connsiteY5-1998" fmla="*/ 2968800 h 3964356"/>
              <a:gd name="connsiteX6-1999" fmla="*/ 1196 w 10562333"/>
              <a:gd name="connsiteY6-2000" fmla="*/ 3747684 h 3964356"/>
              <a:gd name="connsiteX7-2001" fmla="*/ 0 w 10562333"/>
              <a:gd name="connsiteY7-2002" fmla="*/ 24056 h 3964356"/>
              <a:gd name="connsiteX0-2003" fmla="*/ 0 w 10562333"/>
              <a:gd name="connsiteY0-2004" fmla="*/ 45321 h 3985621"/>
              <a:gd name="connsiteX1-2005" fmla="*/ 10518325 w 10562333"/>
              <a:gd name="connsiteY1-2006" fmla="*/ 0 h 3985621"/>
              <a:gd name="connsiteX2-2007" fmla="*/ 10561079 w 10562333"/>
              <a:gd name="connsiteY2-2008" fmla="*/ 3985621 h 3985621"/>
              <a:gd name="connsiteX3-2009" fmla="*/ 9014268 w 10562333"/>
              <a:gd name="connsiteY3-2010" fmla="*/ 3747986 h 3985621"/>
              <a:gd name="connsiteX4-2011" fmla="*/ 2284729 w 10562333"/>
              <a:gd name="connsiteY4-2012" fmla="*/ 3743763 h 3985621"/>
              <a:gd name="connsiteX5-2013" fmla="*/ 1200558 w 10562333"/>
              <a:gd name="connsiteY5-2014" fmla="*/ 2990065 h 3985621"/>
              <a:gd name="connsiteX6-2015" fmla="*/ 1196 w 10562333"/>
              <a:gd name="connsiteY6-2016" fmla="*/ 3768949 h 3985621"/>
              <a:gd name="connsiteX7-2017" fmla="*/ 0 w 10562333"/>
              <a:gd name="connsiteY7-2018" fmla="*/ 45321 h 3985621"/>
              <a:gd name="connsiteX0-2019" fmla="*/ 0 w 10562333"/>
              <a:gd name="connsiteY0-2020" fmla="*/ 45321 h 3985621"/>
              <a:gd name="connsiteX1-2021" fmla="*/ 10518325 w 10562333"/>
              <a:gd name="connsiteY1-2022" fmla="*/ 0 h 3985621"/>
              <a:gd name="connsiteX2-2023" fmla="*/ 10561079 w 10562333"/>
              <a:gd name="connsiteY2-2024" fmla="*/ 3985621 h 3985621"/>
              <a:gd name="connsiteX3-2025" fmla="*/ 9014268 w 10562333"/>
              <a:gd name="connsiteY3-2026" fmla="*/ 3747986 h 3985621"/>
              <a:gd name="connsiteX4-2027" fmla="*/ 2284729 w 10562333"/>
              <a:gd name="connsiteY4-2028" fmla="*/ 3743763 h 3985621"/>
              <a:gd name="connsiteX5-2029" fmla="*/ 1200558 w 10562333"/>
              <a:gd name="connsiteY5-2030" fmla="*/ 2990065 h 3985621"/>
              <a:gd name="connsiteX6-2031" fmla="*/ 1196 w 10562333"/>
              <a:gd name="connsiteY6-2032" fmla="*/ 3768949 h 3985621"/>
              <a:gd name="connsiteX7-2033" fmla="*/ 0 w 10562333"/>
              <a:gd name="connsiteY7-2034" fmla="*/ 45321 h 3985621"/>
              <a:gd name="connsiteX0-2035" fmla="*/ 0 w 10562333"/>
              <a:gd name="connsiteY0-2036" fmla="*/ 45321 h 3985621"/>
              <a:gd name="connsiteX1-2037" fmla="*/ 10518325 w 10562333"/>
              <a:gd name="connsiteY1-2038" fmla="*/ 0 h 3985621"/>
              <a:gd name="connsiteX2-2039" fmla="*/ 10561079 w 10562333"/>
              <a:gd name="connsiteY2-2040" fmla="*/ 3985621 h 3985621"/>
              <a:gd name="connsiteX3-2041" fmla="*/ 9014268 w 10562333"/>
              <a:gd name="connsiteY3-2042" fmla="*/ 3747986 h 3985621"/>
              <a:gd name="connsiteX4-2043" fmla="*/ 2284729 w 10562333"/>
              <a:gd name="connsiteY4-2044" fmla="*/ 3743763 h 3985621"/>
              <a:gd name="connsiteX5-2045" fmla="*/ 1200558 w 10562333"/>
              <a:gd name="connsiteY5-2046" fmla="*/ 2990065 h 3985621"/>
              <a:gd name="connsiteX6-2047" fmla="*/ 1196 w 10562333"/>
              <a:gd name="connsiteY6-2048" fmla="*/ 3768949 h 3985621"/>
              <a:gd name="connsiteX7-2049" fmla="*/ 0 w 10562333"/>
              <a:gd name="connsiteY7-2050" fmla="*/ 45321 h 3985621"/>
              <a:gd name="connsiteX0-2051" fmla="*/ 0 w 10562333"/>
              <a:gd name="connsiteY0-2052" fmla="*/ 628158 h 4568458"/>
              <a:gd name="connsiteX1-2053" fmla="*/ 10518325 w 10562333"/>
              <a:gd name="connsiteY1-2054" fmla="*/ 582837 h 4568458"/>
              <a:gd name="connsiteX2-2055" fmla="*/ 10561079 w 10562333"/>
              <a:gd name="connsiteY2-2056" fmla="*/ 4568458 h 4568458"/>
              <a:gd name="connsiteX3-2057" fmla="*/ 9014268 w 10562333"/>
              <a:gd name="connsiteY3-2058" fmla="*/ 4330823 h 4568458"/>
              <a:gd name="connsiteX4-2059" fmla="*/ 2284729 w 10562333"/>
              <a:gd name="connsiteY4-2060" fmla="*/ 4326600 h 4568458"/>
              <a:gd name="connsiteX5-2061" fmla="*/ 1200558 w 10562333"/>
              <a:gd name="connsiteY5-2062" fmla="*/ 3572902 h 4568458"/>
              <a:gd name="connsiteX6-2063" fmla="*/ 1196 w 10562333"/>
              <a:gd name="connsiteY6-2064" fmla="*/ 4351786 h 4568458"/>
              <a:gd name="connsiteX7-2065" fmla="*/ 0 w 10562333"/>
              <a:gd name="connsiteY7-2066" fmla="*/ 628158 h 4568458"/>
              <a:gd name="connsiteX0-2067" fmla="*/ 0 w 10562333"/>
              <a:gd name="connsiteY0-2068" fmla="*/ 628158 h 4568458"/>
              <a:gd name="connsiteX1-2069" fmla="*/ 10518325 w 10562333"/>
              <a:gd name="connsiteY1-2070" fmla="*/ 582837 h 4568458"/>
              <a:gd name="connsiteX2-2071" fmla="*/ 10561079 w 10562333"/>
              <a:gd name="connsiteY2-2072" fmla="*/ 4568458 h 4568458"/>
              <a:gd name="connsiteX3-2073" fmla="*/ 9014268 w 10562333"/>
              <a:gd name="connsiteY3-2074" fmla="*/ 4330823 h 4568458"/>
              <a:gd name="connsiteX4-2075" fmla="*/ 2284729 w 10562333"/>
              <a:gd name="connsiteY4-2076" fmla="*/ 4326600 h 4568458"/>
              <a:gd name="connsiteX5-2077" fmla="*/ 1200558 w 10562333"/>
              <a:gd name="connsiteY5-2078" fmla="*/ 3572902 h 4568458"/>
              <a:gd name="connsiteX6-2079" fmla="*/ 1196 w 10562333"/>
              <a:gd name="connsiteY6-2080" fmla="*/ 4351786 h 4568458"/>
              <a:gd name="connsiteX7-2081" fmla="*/ 0 w 10562333"/>
              <a:gd name="connsiteY7-2082" fmla="*/ 628158 h 4568458"/>
              <a:gd name="connsiteX0-2083" fmla="*/ 0 w 10562333"/>
              <a:gd name="connsiteY0-2084" fmla="*/ 628158 h 4568458"/>
              <a:gd name="connsiteX1-2085" fmla="*/ 10518325 w 10562333"/>
              <a:gd name="connsiteY1-2086" fmla="*/ 582837 h 4568458"/>
              <a:gd name="connsiteX2-2087" fmla="*/ 10561079 w 10562333"/>
              <a:gd name="connsiteY2-2088" fmla="*/ 4568458 h 4568458"/>
              <a:gd name="connsiteX3-2089" fmla="*/ 9014268 w 10562333"/>
              <a:gd name="connsiteY3-2090" fmla="*/ 4330823 h 4568458"/>
              <a:gd name="connsiteX4-2091" fmla="*/ 2284729 w 10562333"/>
              <a:gd name="connsiteY4-2092" fmla="*/ 4326600 h 4568458"/>
              <a:gd name="connsiteX5-2093" fmla="*/ 1200558 w 10562333"/>
              <a:gd name="connsiteY5-2094" fmla="*/ 3572902 h 4568458"/>
              <a:gd name="connsiteX6-2095" fmla="*/ 1196 w 10562333"/>
              <a:gd name="connsiteY6-2096" fmla="*/ 4351786 h 4568458"/>
              <a:gd name="connsiteX7-2097" fmla="*/ 0 w 10562333"/>
              <a:gd name="connsiteY7-2098" fmla="*/ 628158 h 4568458"/>
              <a:gd name="connsiteX0-2099" fmla="*/ 0 w 10562333"/>
              <a:gd name="connsiteY0-2100" fmla="*/ 628158 h 4568458"/>
              <a:gd name="connsiteX1-2101" fmla="*/ 10518325 w 10562333"/>
              <a:gd name="connsiteY1-2102" fmla="*/ 582837 h 4568458"/>
              <a:gd name="connsiteX2-2103" fmla="*/ 10561079 w 10562333"/>
              <a:gd name="connsiteY2-2104" fmla="*/ 4568458 h 4568458"/>
              <a:gd name="connsiteX3-2105" fmla="*/ 9014268 w 10562333"/>
              <a:gd name="connsiteY3-2106" fmla="*/ 4330823 h 4568458"/>
              <a:gd name="connsiteX4-2107" fmla="*/ 2284729 w 10562333"/>
              <a:gd name="connsiteY4-2108" fmla="*/ 4326600 h 4568458"/>
              <a:gd name="connsiteX5-2109" fmla="*/ 1200558 w 10562333"/>
              <a:gd name="connsiteY5-2110" fmla="*/ 3572902 h 4568458"/>
              <a:gd name="connsiteX6-2111" fmla="*/ 1196 w 10562333"/>
              <a:gd name="connsiteY6-2112" fmla="*/ 4351786 h 4568458"/>
              <a:gd name="connsiteX7-2113" fmla="*/ 0 w 10562333"/>
              <a:gd name="connsiteY7-2114" fmla="*/ 628158 h 4568458"/>
              <a:gd name="connsiteX0-2115" fmla="*/ 0 w 10562333"/>
              <a:gd name="connsiteY0-2116" fmla="*/ 112921 h 4053221"/>
              <a:gd name="connsiteX1-2117" fmla="*/ 10518325 w 10562333"/>
              <a:gd name="connsiteY1-2118" fmla="*/ 67600 h 4053221"/>
              <a:gd name="connsiteX2-2119" fmla="*/ 10561079 w 10562333"/>
              <a:gd name="connsiteY2-2120" fmla="*/ 4053221 h 4053221"/>
              <a:gd name="connsiteX3-2121" fmla="*/ 9014268 w 10562333"/>
              <a:gd name="connsiteY3-2122" fmla="*/ 3815586 h 4053221"/>
              <a:gd name="connsiteX4-2123" fmla="*/ 2284729 w 10562333"/>
              <a:gd name="connsiteY4-2124" fmla="*/ 3811363 h 4053221"/>
              <a:gd name="connsiteX5-2125" fmla="*/ 1200558 w 10562333"/>
              <a:gd name="connsiteY5-2126" fmla="*/ 3057665 h 4053221"/>
              <a:gd name="connsiteX6-2127" fmla="*/ 1196 w 10562333"/>
              <a:gd name="connsiteY6-2128" fmla="*/ 3836549 h 4053221"/>
              <a:gd name="connsiteX7-2129" fmla="*/ 0 w 10562333"/>
              <a:gd name="connsiteY7-2130" fmla="*/ 112921 h 4053221"/>
              <a:gd name="connsiteX0-2131" fmla="*/ 0 w 10562333"/>
              <a:gd name="connsiteY0-2132" fmla="*/ 112921 h 4053221"/>
              <a:gd name="connsiteX1-2133" fmla="*/ 10518325 w 10562333"/>
              <a:gd name="connsiteY1-2134" fmla="*/ 67600 h 4053221"/>
              <a:gd name="connsiteX2-2135" fmla="*/ 10561079 w 10562333"/>
              <a:gd name="connsiteY2-2136" fmla="*/ 4053221 h 4053221"/>
              <a:gd name="connsiteX3-2137" fmla="*/ 9014268 w 10562333"/>
              <a:gd name="connsiteY3-2138" fmla="*/ 3815586 h 4053221"/>
              <a:gd name="connsiteX4-2139" fmla="*/ 2284729 w 10562333"/>
              <a:gd name="connsiteY4-2140" fmla="*/ 3811363 h 4053221"/>
              <a:gd name="connsiteX5-2141" fmla="*/ 1200558 w 10562333"/>
              <a:gd name="connsiteY5-2142" fmla="*/ 3057665 h 4053221"/>
              <a:gd name="connsiteX6-2143" fmla="*/ 1196 w 10562333"/>
              <a:gd name="connsiteY6-2144" fmla="*/ 3836549 h 4053221"/>
              <a:gd name="connsiteX7-2145" fmla="*/ 0 w 10562333"/>
              <a:gd name="connsiteY7-2146" fmla="*/ 112921 h 4053221"/>
              <a:gd name="connsiteX0-2147" fmla="*/ 0 w 10562333"/>
              <a:gd name="connsiteY0-2148" fmla="*/ 45321 h 3985621"/>
              <a:gd name="connsiteX1-2149" fmla="*/ 10518325 w 10562333"/>
              <a:gd name="connsiteY1-2150" fmla="*/ 0 h 3985621"/>
              <a:gd name="connsiteX2-2151" fmla="*/ 10561079 w 10562333"/>
              <a:gd name="connsiteY2-2152" fmla="*/ 3985621 h 3985621"/>
              <a:gd name="connsiteX3-2153" fmla="*/ 9014268 w 10562333"/>
              <a:gd name="connsiteY3-2154" fmla="*/ 3747986 h 3985621"/>
              <a:gd name="connsiteX4-2155" fmla="*/ 2284729 w 10562333"/>
              <a:gd name="connsiteY4-2156" fmla="*/ 3743763 h 3985621"/>
              <a:gd name="connsiteX5-2157" fmla="*/ 1200558 w 10562333"/>
              <a:gd name="connsiteY5-2158" fmla="*/ 2990065 h 3985621"/>
              <a:gd name="connsiteX6-2159" fmla="*/ 1196 w 10562333"/>
              <a:gd name="connsiteY6-2160" fmla="*/ 3768949 h 3985621"/>
              <a:gd name="connsiteX7-2161" fmla="*/ 0 w 10562333"/>
              <a:gd name="connsiteY7-2162" fmla="*/ 45321 h 3985621"/>
              <a:gd name="connsiteX0-2163" fmla="*/ 0 w 10562333"/>
              <a:gd name="connsiteY0-2164" fmla="*/ 45321 h 3985621"/>
              <a:gd name="connsiteX1-2165" fmla="*/ 10518325 w 10562333"/>
              <a:gd name="connsiteY1-2166" fmla="*/ 0 h 3985621"/>
              <a:gd name="connsiteX2-2167" fmla="*/ 10561079 w 10562333"/>
              <a:gd name="connsiteY2-2168" fmla="*/ 3985621 h 3985621"/>
              <a:gd name="connsiteX3-2169" fmla="*/ 9014268 w 10562333"/>
              <a:gd name="connsiteY3-2170" fmla="*/ 3747986 h 3985621"/>
              <a:gd name="connsiteX4-2171" fmla="*/ 2284729 w 10562333"/>
              <a:gd name="connsiteY4-2172" fmla="*/ 3743763 h 3985621"/>
              <a:gd name="connsiteX5-2173" fmla="*/ 1200558 w 10562333"/>
              <a:gd name="connsiteY5-2174" fmla="*/ 2990065 h 3985621"/>
              <a:gd name="connsiteX6-2175" fmla="*/ 1196 w 10562333"/>
              <a:gd name="connsiteY6-2176" fmla="*/ 3768949 h 3985621"/>
              <a:gd name="connsiteX7-2177" fmla="*/ 0 w 10562333"/>
              <a:gd name="connsiteY7-2178" fmla="*/ 45321 h 3985621"/>
              <a:gd name="connsiteX0-2179" fmla="*/ 0 w 10562333"/>
              <a:gd name="connsiteY0-2180" fmla="*/ 45321 h 3985621"/>
              <a:gd name="connsiteX1-2181" fmla="*/ 10518325 w 10562333"/>
              <a:gd name="connsiteY1-2182" fmla="*/ 0 h 3985621"/>
              <a:gd name="connsiteX2-2183" fmla="*/ 10561079 w 10562333"/>
              <a:gd name="connsiteY2-2184" fmla="*/ 3985621 h 3985621"/>
              <a:gd name="connsiteX3-2185" fmla="*/ 9014268 w 10562333"/>
              <a:gd name="connsiteY3-2186" fmla="*/ 3747986 h 3985621"/>
              <a:gd name="connsiteX4-2187" fmla="*/ 2284729 w 10562333"/>
              <a:gd name="connsiteY4-2188" fmla="*/ 3743763 h 3985621"/>
              <a:gd name="connsiteX5-2189" fmla="*/ 1200558 w 10562333"/>
              <a:gd name="connsiteY5-2190" fmla="*/ 2990065 h 3985621"/>
              <a:gd name="connsiteX6-2191" fmla="*/ 0 w 10562333"/>
              <a:gd name="connsiteY6-2192" fmla="*/ 3705154 h 3985621"/>
              <a:gd name="connsiteX7-2193" fmla="*/ 0 w 10562333"/>
              <a:gd name="connsiteY7-2194" fmla="*/ 45321 h 3985621"/>
              <a:gd name="connsiteX0-2195" fmla="*/ 0 w 10562333"/>
              <a:gd name="connsiteY0-2196" fmla="*/ 45321 h 3985621"/>
              <a:gd name="connsiteX1-2197" fmla="*/ 10518325 w 10562333"/>
              <a:gd name="connsiteY1-2198" fmla="*/ 0 h 3985621"/>
              <a:gd name="connsiteX2-2199" fmla="*/ 10561079 w 10562333"/>
              <a:gd name="connsiteY2-2200" fmla="*/ 3985621 h 3985621"/>
              <a:gd name="connsiteX3-2201" fmla="*/ 9014268 w 10562333"/>
              <a:gd name="connsiteY3-2202" fmla="*/ 3747986 h 3985621"/>
              <a:gd name="connsiteX4-2203" fmla="*/ 2295230 w 10562333"/>
              <a:gd name="connsiteY4-2204" fmla="*/ 3711865 h 3985621"/>
              <a:gd name="connsiteX5-2205" fmla="*/ 1200558 w 10562333"/>
              <a:gd name="connsiteY5-2206" fmla="*/ 2990065 h 3985621"/>
              <a:gd name="connsiteX6-2207" fmla="*/ 0 w 10562333"/>
              <a:gd name="connsiteY6-2208" fmla="*/ 3705154 h 3985621"/>
              <a:gd name="connsiteX7-2209" fmla="*/ 0 w 10562333"/>
              <a:gd name="connsiteY7-2210" fmla="*/ 45321 h 3985621"/>
              <a:gd name="connsiteX0-2211" fmla="*/ 0 w 10562333"/>
              <a:gd name="connsiteY0-2212" fmla="*/ 45321 h 3985621"/>
              <a:gd name="connsiteX1-2213" fmla="*/ 10518325 w 10562333"/>
              <a:gd name="connsiteY1-2214" fmla="*/ 0 h 3985621"/>
              <a:gd name="connsiteX2-2215" fmla="*/ 10561079 w 10562333"/>
              <a:gd name="connsiteY2-2216" fmla="*/ 3985621 h 3985621"/>
              <a:gd name="connsiteX3-2217" fmla="*/ 9014268 w 10562333"/>
              <a:gd name="connsiteY3-2218" fmla="*/ 3747986 h 3985621"/>
              <a:gd name="connsiteX4-2219" fmla="*/ 2295230 w 10562333"/>
              <a:gd name="connsiteY4-2220" fmla="*/ 3711865 h 3985621"/>
              <a:gd name="connsiteX5-2221" fmla="*/ 1200558 w 10562333"/>
              <a:gd name="connsiteY5-2222" fmla="*/ 2990065 h 3985621"/>
              <a:gd name="connsiteX6-2223" fmla="*/ 0 w 10562333"/>
              <a:gd name="connsiteY6-2224" fmla="*/ 3705154 h 3985621"/>
              <a:gd name="connsiteX7-2225" fmla="*/ 0 w 10562333"/>
              <a:gd name="connsiteY7-2226" fmla="*/ 45321 h 3985621"/>
              <a:gd name="connsiteX0-2227" fmla="*/ 0 w 10562333"/>
              <a:gd name="connsiteY0-2228" fmla="*/ 45321 h 3985621"/>
              <a:gd name="connsiteX1-2229" fmla="*/ 10518325 w 10562333"/>
              <a:gd name="connsiteY1-2230" fmla="*/ 0 h 3985621"/>
              <a:gd name="connsiteX2-2231" fmla="*/ 10561079 w 10562333"/>
              <a:gd name="connsiteY2-2232" fmla="*/ 3985621 h 3985621"/>
              <a:gd name="connsiteX3-2233" fmla="*/ 9014268 w 10562333"/>
              <a:gd name="connsiteY3-2234" fmla="*/ 3747986 h 3985621"/>
              <a:gd name="connsiteX4-2235" fmla="*/ 2295230 w 10562333"/>
              <a:gd name="connsiteY4-2236" fmla="*/ 3711865 h 3985621"/>
              <a:gd name="connsiteX5-2237" fmla="*/ 1200558 w 10562333"/>
              <a:gd name="connsiteY5-2238" fmla="*/ 2990065 h 3985621"/>
              <a:gd name="connsiteX6-2239" fmla="*/ 0 w 10562333"/>
              <a:gd name="connsiteY6-2240" fmla="*/ 3705154 h 3985621"/>
              <a:gd name="connsiteX7-2241" fmla="*/ 0 w 10562333"/>
              <a:gd name="connsiteY7-2242" fmla="*/ 45321 h 3985621"/>
              <a:gd name="connsiteX0-2243" fmla="*/ 0 w 10562333"/>
              <a:gd name="connsiteY0-2244" fmla="*/ 45321 h 3985621"/>
              <a:gd name="connsiteX1-2245" fmla="*/ 10518325 w 10562333"/>
              <a:gd name="connsiteY1-2246" fmla="*/ 0 h 3985621"/>
              <a:gd name="connsiteX2-2247" fmla="*/ 10561079 w 10562333"/>
              <a:gd name="connsiteY2-2248" fmla="*/ 3985621 h 3985621"/>
              <a:gd name="connsiteX3-2249" fmla="*/ 9014268 w 10562333"/>
              <a:gd name="connsiteY3-2250" fmla="*/ 3747986 h 3985621"/>
              <a:gd name="connsiteX4-2251" fmla="*/ 2295230 w 10562333"/>
              <a:gd name="connsiteY4-2252" fmla="*/ 3711865 h 3985621"/>
              <a:gd name="connsiteX5-2253" fmla="*/ 1200558 w 10562333"/>
              <a:gd name="connsiteY5-2254" fmla="*/ 2990065 h 3985621"/>
              <a:gd name="connsiteX6-2255" fmla="*/ 0 w 10562333"/>
              <a:gd name="connsiteY6-2256" fmla="*/ 3705154 h 3985621"/>
              <a:gd name="connsiteX7-2257" fmla="*/ 0 w 10562333"/>
              <a:gd name="connsiteY7-2258" fmla="*/ 45321 h 3985621"/>
              <a:gd name="connsiteX0-2259" fmla="*/ 0 w 10562333"/>
              <a:gd name="connsiteY0-2260" fmla="*/ 45321 h 3985621"/>
              <a:gd name="connsiteX1-2261" fmla="*/ 10518325 w 10562333"/>
              <a:gd name="connsiteY1-2262" fmla="*/ 0 h 3985621"/>
              <a:gd name="connsiteX2-2263" fmla="*/ 10561079 w 10562333"/>
              <a:gd name="connsiteY2-2264" fmla="*/ 3985621 h 3985621"/>
              <a:gd name="connsiteX3-2265" fmla="*/ 9014268 w 10562333"/>
              <a:gd name="connsiteY3-2266" fmla="*/ 3747986 h 3985621"/>
              <a:gd name="connsiteX4-2267" fmla="*/ 2295230 w 10562333"/>
              <a:gd name="connsiteY4-2268" fmla="*/ 3711865 h 3985621"/>
              <a:gd name="connsiteX5-2269" fmla="*/ 1200558 w 10562333"/>
              <a:gd name="connsiteY5-2270" fmla="*/ 2990065 h 3985621"/>
              <a:gd name="connsiteX6-2271" fmla="*/ 0 w 10562333"/>
              <a:gd name="connsiteY6-2272" fmla="*/ 3705154 h 3985621"/>
              <a:gd name="connsiteX7-2273" fmla="*/ 0 w 10562333"/>
              <a:gd name="connsiteY7-2274" fmla="*/ 45321 h 3985621"/>
              <a:gd name="connsiteX0-2275" fmla="*/ 0 w 10562333"/>
              <a:gd name="connsiteY0-2276" fmla="*/ 45321 h 3985621"/>
              <a:gd name="connsiteX1-2277" fmla="*/ 10518325 w 10562333"/>
              <a:gd name="connsiteY1-2278" fmla="*/ 0 h 3985621"/>
              <a:gd name="connsiteX2-2279" fmla="*/ 10561079 w 10562333"/>
              <a:gd name="connsiteY2-2280" fmla="*/ 3985621 h 3985621"/>
              <a:gd name="connsiteX3-2281" fmla="*/ 9014268 w 10562333"/>
              <a:gd name="connsiteY3-2282" fmla="*/ 3747986 h 3985621"/>
              <a:gd name="connsiteX4-2283" fmla="*/ 2295230 w 10562333"/>
              <a:gd name="connsiteY4-2284" fmla="*/ 3711865 h 3985621"/>
              <a:gd name="connsiteX5-2285" fmla="*/ 1200558 w 10562333"/>
              <a:gd name="connsiteY5-2286" fmla="*/ 2990065 h 3985621"/>
              <a:gd name="connsiteX6-2287" fmla="*/ 0 w 10562333"/>
              <a:gd name="connsiteY6-2288" fmla="*/ 3705154 h 3985621"/>
              <a:gd name="connsiteX7-2289" fmla="*/ 0 w 10562333"/>
              <a:gd name="connsiteY7-2290" fmla="*/ 45321 h 3985621"/>
              <a:gd name="connsiteX0-2291" fmla="*/ 0 w 10562333"/>
              <a:gd name="connsiteY0-2292" fmla="*/ 45321 h 3985621"/>
              <a:gd name="connsiteX1-2293" fmla="*/ 10518325 w 10562333"/>
              <a:gd name="connsiteY1-2294" fmla="*/ 0 h 3985621"/>
              <a:gd name="connsiteX2-2295" fmla="*/ 10561079 w 10562333"/>
              <a:gd name="connsiteY2-2296" fmla="*/ 3985621 h 3985621"/>
              <a:gd name="connsiteX3-2297" fmla="*/ 9014268 w 10562333"/>
              <a:gd name="connsiteY3-2298" fmla="*/ 3747986 h 3985621"/>
              <a:gd name="connsiteX4-2299" fmla="*/ 2295230 w 10562333"/>
              <a:gd name="connsiteY4-2300" fmla="*/ 3711865 h 3985621"/>
              <a:gd name="connsiteX5-2301" fmla="*/ 1200558 w 10562333"/>
              <a:gd name="connsiteY5-2302" fmla="*/ 2990065 h 3985621"/>
              <a:gd name="connsiteX6-2303" fmla="*/ 0 w 10562333"/>
              <a:gd name="connsiteY6-2304" fmla="*/ 3705154 h 3985621"/>
              <a:gd name="connsiteX7-2305" fmla="*/ 0 w 10562333"/>
              <a:gd name="connsiteY7-2306" fmla="*/ 45321 h 3985621"/>
              <a:gd name="connsiteX0-2307" fmla="*/ 0 w 10562333"/>
              <a:gd name="connsiteY0-2308" fmla="*/ 45321 h 3985621"/>
              <a:gd name="connsiteX1-2309" fmla="*/ 10518325 w 10562333"/>
              <a:gd name="connsiteY1-2310" fmla="*/ 0 h 3985621"/>
              <a:gd name="connsiteX2-2311" fmla="*/ 10561079 w 10562333"/>
              <a:gd name="connsiteY2-2312" fmla="*/ 3985621 h 3985621"/>
              <a:gd name="connsiteX3-2313" fmla="*/ 9014268 w 10562333"/>
              <a:gd name="connsiteY3-2314" fmla="*/ 3747986 h 3985621"/>
              <a:gd name="connsiteX4-2315" fmla="*/ 2295230 w 10562333"/>
              <a:gd name="connsiteY4-2316" fmla="*/ 3711865 h 3985621"/>
              <a:gd name="connsiteX5-2317" fmla="*/ 1200558 w 10562333"/>
              <a:gd name="connsiteY5-2318" fmla="*/ 2990065 h 3985621"/>
              <a:gd name="connsiteX6-2319" fmla="*/ 0 w 10562333"/>
              <a:gd name="connsiteY6-2320" fmla="*/ 3705154 h 3985621"/>
              <a:gd name="connsiteX7-2321" fmla="*/ 0 w 10562333"/>
              <a:gd name="connsiteY7-2322" fmla="*/ 45321 h 3985621"/>
              <a:gd name="connsiteX0-2323" fmla="*/ 0 w 10562333"/>
              <a:gd name="connsiteY0-2324" fmla="*/ 45321 h 3985621"/>
              <a:gd name="connsiteX1-2325" fmla="*/ 10518325 w 10562333"/>
              <a:gd name="connsiteY1-2326" fmla="*/ 0 h 3985621"/>
              <a:gd name="connsiteX2-2327" fmla="*/ 10561079 w 10562333"/>
              <a:gd name="connsiteY2-2328" fmla="*/ 3985621 h 3985621"/>
              <a:gd name="connsiteX3-2329" fmla="*/ 9014268 w 10562333"/>
              <a:gd name="connsiteY3-2330" fmla="*/ 3747986 h 3985621"/>
              <a:gd name="connsiteX4-2331" fmla="*/ 2295230 w 10562333"/>
              <a:gd name="connsiteY4-2332" fmla="*/ 3711865 h 3985621"/>
              <a:gd name="connsiteX5-2333" fmla="*/ 1200558 w 10562333"/>
              <a:gd name="connsiteY5-2334" fmla="*/ 2990065 h 3985621"/>
              <a:gd name="connsiteX6-2335" fmla="*/ 0 w 10562333"/>
              <a:gd name="connsiteY6-2336" fmla="*/ 3705154 h 3985621"/>
              <a:gd name="connsiteX7-2337" fmla="*/ 0 w 10562333"/>
              <a:gd name="connsiteY7-2338" fmla="*/ 45321 h 3985621"/>
              <a:gd name="connsiteX0-2339" fmla="*/ 0 w 10562333"/>
              <a:gd name="connsiteY0-2340" fmla="*/ 45321 h 3985621"/>
              <a:gd name="connsiteX1-2341" fmla="*/ 10518325 w 10562333"/>
              <a:gd name="connsiteY1-2342" fmla="*/ 0 h 3985621"/>
              <a:gd name="connsiteX2-2343" fmla="*/ 10561079 w 10562333"/>
              <a:gd name="connsiteY2-2344" fmla="*/ 3985621 h 3985621"/>
              <a:gd name="connsiteX3-2345" fmla="*/ 9014268 w 10562333"/>
              <a:gd name="connsiteY3-2346" fmla="*/ 3747986 h 3985621"/>
              <a:gd name="connsiteX4-2347" fmla="*/ 2295230 w 10562333"/>
              <a:gd name="connsiteY4-2348" fmla="*/ 3711865 h 3985621"/>
              <a:gd name="connsiteX5-2349" fmla="*/ 1200558 w 10562333"/>
              <a:gd name="connsiteY5-2350" fmla="*/ 2990065 h 3985621"/>
              <a:gd name="connsiteX6-2351" fmla="*/ 0 w 10562333"/>
              <a:gd name="connsiteY6-2352" fmla="*/ 3705154 h 3985621"/>
              <a:gd name="connsiteX7-2353" fmla="*/ 0 w 10562333"/>
              <a:gd name="connsiteY7-2354" fmla="*/ 45321 h 3985621"/>
              <a:gd name="connsiteX0-2355" fmla="*/ 0 w 10562333"/>
              <a:gd name="connsiteY0-2356" fmla="*/ 45321 h 3985621"/>
              <a:gd name="connsiteX1-2357" fmla="*/ 10518325 w 10562333"/>
              <a:gd name="connsiteY1-2358" fmla="*/ 0 h 3985621"/>
              <a:gd name="connsiteX2-2359" fmla="*/ 10561079 w 10562333"/>
              <a:gd name="connsiteY2-2360" fmla="*/ 3985621 h 3985621"/>
              <a:gd name="connsiteX3-2361" fmla="*/ 9014268 w 10562333"/>
              <a:gd name="connsiteY3-2362" fmla="*/ 3747986 h 3985621"/>
              <a:gd name="connsiteX4-2363" fmla="*/ 2295230 w 10562333"/>
              <a:gd name="connsiteY4-2364" fmla="*/ 3711865 h 3985621"/>
              <a:gd name="connsiteX5-2365" fmla="*/ 1200558 w 10562333"/>
              <a:gd name="connsiteY5-2366" fmla="*/ 2990065 h 3985621"/>
              <a:gd name="connsiteX6-2367" fmla="*/ 0 w 10562333"/>
              <a:gd name="connsiteY6-2368" fmla="*/ 3705154 h 3985621"/>
              <a:gd name="connsiteX7-2369" fmla="*/ 0 w 10562333"/>
              <a:gd name="connsiteY7-2370" fmla="*/ 45321 h 3985621"/>
              <a:gd name="connsiteX0-2371" fmla="*/ 0 w 10562333"/>
              <a:gd name="connsiteY0-2372" fmla="*/ 45321 h 3985621"/>
              <a:gd name="connsiteX1-2373" fmla="*/ 10518325 w 10562333"/>
              <a:gd name="connsiteY1-2374" fmla="*/ 0 h 3985621"/>
              <a:gd name="connsiteX2-2375" fmla="*/ 10561079 w 10562333"/>
              <a:gd name="connsiteY2-2376" fmla="*/ 3985621 h 3985621"/>
              <a:gd name="connsiteX3-2377" fmla="*/ 9024769 w 10562333"/>
              <a:gd name="connsiteY3-2378" fmla="*/ 3726721 h 3985621"/>
              <a:gd name="connsiteX4-2379" fmla="*/ 2295230 w 10562333"/>
              <a:gd name="connsiteY4-2380" fmla="*/ 3711865 h 3985621"/>
              <a:gd name="connsiteX5-2381" fmla="*/ 1200558 w 10562333"/>
              <a:gd name="connsiteY5-2382" fmla="*/ 2990065 h 3985621"/>
              <a:gd name="connsiteX6-2383" fmla="*/ 0 w 10562333"/>
              <a:gd name="connsiteY6-2384" fmla="*/ 3705154 h 3985621"/>
              <a:gd name="connsiteX7-2385" fmla="*/ 0 w 10562333"/>
              <a:gd name="connsiteY7-2386" fmla="*/ 45321 h 3985621"/>
              <a:gd name="connsiteX0-2387" fmla="*/ 0 w 10562333"/>
              <a:gd name="connsiteY0-2388" fmla="*/ 45321 h 3985621"/>
              <a:gd name="connsiteX1-2389" fmla="*/ 10518325 w 10562333"/>
              <a:gd name="connsiteY1-2390" fmla="*/ 0 h 3985621"/>
              <a:gd name="connsiteX2-2391" fmla="*/ 10561079 w 10562333"/>
              <a:gd name="connsiteY2-2392" fmla="*/ 3985621 h 3985621"/>
              <a:gd name="connsiteX3-2393" fmla="*/ 9024769 w 10562333"/>
              <a:gd name="connsiteY3-2394" fmla="*/ 3726721 h 3985621"/>
              <a:gd name="connsiteX4-2395" fmla="*/ 2295230 w 10562333"/>
              <a:gd name="connsiteY4-2396" fmla="*/ 3711865 h 3985621"/>
              <a:gd name="connsiteX5-2397" fmla="*/ 1200558 w 10562333"/>
              <a:gd name="connsiteY5-2398" fmla="*/ 2990065 h 3985621"/>
              <a:gd name="connsiteX6-2399" fmla="*/ 0 w 10562333"/>
              <a:gd name="connsiteY6-2400" fmla="*/ 3705154 h 3985621"/>
              <a:gd name="connsiteX7-2401" fmla="*/ 0 w 10562333"/>
              <a:gd name="connsiteY7-2402" fmla="*/ 45321 h 3985621"/>
              <a:gd name="connsiteX0-2403" fmla="*/ 0 w 10562333"/>
              <a:gd name="connsiteY0-2404" fmla="*/ 45321 h 3985621"/>
              <a:gd name="connsiteX1-2405" fmla="*/ 10518325 w 10562333"/>
              <a:gd name="connsiteY1-2406" fmla="*/ 0 h 3985621"/>
              <a:gd name="connsiteX2-2407" fmla="*/ 10561079 w 10562333"/>
              <a:gd name="connsiteY2-2408" fmla="*/ 3985621 h 3985621"/>
              <a:gd name="connsiteX3-2409" fmla="*/ 9024769 w 10562333"/>
              <a:gd name="connsiteY3-2410" fmla="*/ 3726721 h 3985621"/>
              <a:gd name="connsiteX4-2411" fmla="*/ 2295230 w 10562333"/>
              <a:gd name="connsiteY4-2412" fmla="*/ 3711865 h 3985621"/>
              <a:gd name="connsiteX5-2413" fmla="*/ 1200558 w 10562333"/>
              <a:gd name="connsiteY5-2414" fmla="*/ 2990065 h 3985621"/>
              <a:gd name="connsiteX6-2415" fmla="*/ 0 w 10562333"/>
              <a:gd name="connsiteY6-2416" fmla="*/ 3705154 h 3985621"/>
              <a:gd name="connsiteX7-2417" fmla="*/ 0 w 10562333"/>
              <a:gd name="connsiteY7-2418" fmla="*/ 45321 h 3985621"/>
              <a:gd name="connsiteX0-2419" fmla="*/ 0 w 10562333"/>
              <a:gd name="connsiteY0-2420" fmla="*/ 45321 h 3985621"/>
              <a:gd name="connsiteX1-2421" fmla="*/ 10518325 w 10562333"/>
              <a:gd name="connsiteY1-2422" fmla="*/ 0 h 3985621"/>
              <a:gd name="connsiteX2-2423" fmla="*/ 10561079 w 10562333"/>
              <a:gd name="connsiteY2-2424" fmla="*/ 3985621 h 3985621"/>
              <a:gd name="connsiteX3-2425" fmla="*/ 9024769 w 10562333"/>
              <a:gd name="connsiteY3-2426" fmla="*/ 3726721 h 3985621"/>
              <a:gd name="connsiteX4-2427" fmla="*/ 2295230 w 10562333"/>
              <a:gd name="connsiteY4-2428" fmla="*/ 3711865 h 3985621"/>
              <a:gd name="connsiteX5-2429" fmla="*/ 1200558 w 10562333"/>
              <a:gd name="connsiteY5-2430" fmla="*/ 2990065 h 3985621"/>
              <a:gd name="connsiteX6-2431" fmla="*/ 0 w 10562333"/>
              <a:gd name="connsiteY6-2432" fmla="*/ 3705154 h 3985621"/>
              <a:gd name="connsiteX7-2433" fmla="*/ 0 w 10562333"/>
              <a:gd name="connsiteY7-2434" fmla="*/ 45321 h 3985621"/>
              <a:gd name="connsiteX0-2435" fmla="*/ 0 w 10562333"/>
              <a:gd name="connsiteY0-2436" fmla="*/ 45321 h 3985621"/>
              <a:gd name="connsiteX1-2437" fmla="*/ 10518325 w 10562333"/>
              <a:gd name="connsiteY1-2438" fmla="*/ 0 h 3985621"/>
              <a:gd name="connsiteX2-2439" fmla="*/ 10561079 w 10562333"/>
              <a:gd name="connsiteY2-2440" fmla="*/ 3985621 h 3985621"/>
              <a:gd name="connsiteX3-2441" fmla="*/ 9024769 w 10562333"/>
              <a:gd name="connsiteY3-2442" fmla="*/ 3726721 h 3985621"/>
              <a:gd name="connsiteX4-2443" fmla="*/ 2295230 w 10562333"/>
              <a:gd name="connsiteY4-2444" fmla="*/ 3711865 h 3985621"/>
              <a:gd name="connsiteX5-2445" fmla="*/ 1200558 w 10562333"/>
              <a:gd name="connsiteY5-2446" fmla="*/ 2990065 h 3985621"/>
              <a:gd name="connsiteX6-2447" fmla="*/ 0 w 10562333"/>
              <a:gd name="connsiteY6-2448" fmla="*/ 3705154 h 3985621"/>
              <a:gd name="connsiteX7-2449" fmla="*/ 0 w 10562333"/>
              <a:gd name="connsiteY7-2450" fmla="*/ 45321 h 3985621"/>
              <a:gd name="connsiteX0-2451" fmla="*/ 0 w 10562333"/>
              <a:gd name="connsiteY0-2452" fmla="*/ 45321 h 3985621"/>
              <a:gd name="connsiteX1-2453" fmla="*/ 10518325 w 10562333"/>
              <a:gd name="connsiteY1-2454" fmla="*/ 0 h 3985621"/>
              <a:gd name="connsiteX2-2455" fmla="*/ 10561079 w 10562333"/>
              <a:gd name="connsiteY2-2456" fmla="*/ 3985621 h 3985621"/>
              <a:gd name="connsiteX3-2457" fmla="*/ 9024769 w 10562333"/>
              <a:gd name="connsiteY3-2458" fmla="*/ 3726721 h 3985621"/>
              <a:gd name="connsiteX4-2459" fmla="*/ 2295230 w 10562333"/>
              <a:gd name="connsiteY4-2460" fmla="*/ 3711865 h 3985621"/>
              <a:gd name="connsiteX5-2461" fmla="*/ 1200558 w 10562333"/>
              <a:gd name="connsiteY5-2462" fmla="*/ 2990065 h 3985621"/>
              <a:gd name="connsiteX6-2463" fmla="*/ 0 w 10562333"/>
              <a:gd name="connsiteY6-2464" fmla="*/ 3705154 h 3985621"/>
              <a:gd name="connsiteX7-2465" fmla="*/ 0 w 10562333"/>
              <a:gd name="connsiteY7-2466" fmla="*/ 45321 h 3985621"/>
              <a:gd name="connsiteX0-2467" fmla="*/ 0 w 10562333"/>
              <a:gd name="connsiteY0-2468" fmla="*/ 45321 h 3985621"/>
              <a:gd name="connsiteX1-2469" fmla="*/ 10518325 w 10562333"/>
              <a:gd name="connsiteY1-2470" fmla="*/ 0 h 3985621"/>
              <a:gd name="connsiteX2-2471" fmla="*/ 10561079 w 10562333"/>
              <a:gd name="connsiteY2-2472" fmla="*/ 3985621 h 3985621"/>
              <a:gd name="connsiteX3-2473" fmla="*/ 9024769 w 10562333"/>
              <a:gd name="connsiteY3-2474" fmla="*/ 3726721 h 3985621"/>
              <a:gd name="connsiteX4-2475" fmla="*/ 2295230 w 10562333"/>
              <a:gd name="connsiteY4-2476" fmla="*/ 3711865 h 3985621"/>
              <a:gd name="connsiteX5-2477" fmla="*/ 1200558 w 10562333"/>
              <a:gd name="connsiteY5-2478" fmla="*/ 2990065 h 3985621"/>
              <a:gd name="connsiteX6-2479" fmla="*/ 0 w 10562333"/>
              <a:gd name="connsiteY6-2480" fmla="*/ 3705154 h 3985621"/>
              <a:gd name="connsiteX7-2481" fmla="*/ 0 w 10562333"/>
              <a:gd name="connsiteY7-2482" fmla="*/ 45321 h 3985621"/>
              <a:gd name="connsiteX0-2483" fmla="*/ 0 w 10562333"/>
              <a:gd name="connsiteY0-2484" fmla="*/ 45321 h 3985621"/>
              <a:gd name="connsiteX1-2485" fmla="*/ 10518325 w 10562333"/>
              <a:gd name="connsiteY1-2486" fmla="*/ 0 h 3985621"/>
              <a:gd name="connsiteX2-2487" fmla="*/ 10561079 w 10562333"/>
              <a:gd name="connsiteY2-2488" fmla="*/ 3985621 h 3985621"/>
              <a:gd name="connsiteX3-2489" fmla="*/ 9024769 w 10562333"/>
              <a:gd name="connsiteY3-2490" fmla="*/ 3726721 h 3985621"/>
              <a:gd name="connsiteX4-2491" fmla="*/ 2295230 w 10562333"/>
              <a:gd name="connsiteY4-2492" fmla="*/ 3711865 h 3985621"/>
              <a:gd name="connsiteX5-2493" fmla="*/ 1200558 w 10562333"/>
              <a:gd name="connsiteY5-2494" fmla="*/ 2990065 h 3985621"/>
              <a:gd name="connsiteX6-2495" fmla="*/ 0 w 10562333"/>
              <a:gd name="connsiteY6-2496" fmla="*/ 3705154 h 3985621"/>
              <a:gd name="connsiteX7-2497" fmla="*/ 0 w 10562333"/>
              <a:gd name="connsiteY7-2498" fmla="*/ 45321 h 3985621"/>
              <a:gd name="connsiteX0-2499" fmla="*/ 0 w 10562333"/>
              <a:gd name="connsiteY0-2500" fmla="*/ 45321 h 3985621"/>
              <a:gd name="connsiteX1-2501" fmla="*/ 10518325 w 10562333"/>
              <a:gd name="connsiteY1-2502" fmla="*/ 0 h 3985621"/>
              <a:gd name="connsiteX2-2503" fmla="*/ 10561079 w 10562333"/>
              <a:gd name="connsiteY2-2504" fmla="*/ 3985621 h 3985621"/>
              <a:gd name="connsiteX3-2505" fmla="*/ 9024769 w 10562333"/>
              <a:gd name="connsiteY3-2506" fmla="*/ 3726721 h 3985621"/>
              <a:gd name="connsiteX4-2507" fmla="*/ 2295230 w 10562333"/>
              <a:gd name="connsiteY4-2508" fmla="*/ 3711865 h 3985621"/>
              <a:gd name="connsiteX5-2509" fmla="*/ 1200558 w 10562333"/>
              <a:gd name="connsiteY5-2510" fmla="*/ 2990065 h 3985621"/>
              <a:gd name="connsiteX6-2511" fmla="*/ 0 w 10562333"/>
              <a:gd name="connsiteY6-2512" fmla="*/ 3705154 h 3985621"/>
              <a:gd name="connsiteX7-2513" fmla="*/ 0 w 10562333"/>
              <a:gd name="connsiteY7-2514" fmla="*/ 45321 h 3985621"/>
              <a:gd name="connsiteX0-2515" fmla="*/ 0 w 10562333"/>
              <a:gd name="connsiteY0-2516" fmla="*/ 45321 h 3985621"/>
              <a:gd name="connsiteX1-2517" fmla="*/ 10518325 w 10562333"/>
              <a:gd name="connsiteY1-2518" fmla="*/ 0 h 3985621"/>
              <a:gd name="connsiteX2-2519" fmla="*/ 10561079 w 10562333"/>
              <a:gd name="connsiteY2-2520" fmla="*/ 3985621 h 3985621"/>
              <a:gd name="connsiteX3-2521" fmla="*/ 9024769 w 10562333"/>
              <a:gd name="connsiteY3-2522" fmla="*/ 3726721 h 3985621"/>
              <a:gd name="connsiteX4-2523" fmla="*/ 2295230 w 10562333"/>
              <a:gd name="connsiteY4-2524" fmla="*/ 3711865 h 3985621"/>
              <a:gd name="connsiteX5-2525" fmla="*/ 1200558 w 10562333"/>
              <a:gd name="connsiteY5-2526" fmla="*/ 2990065 h 3985621"/>
              <a:gd name="connsiteX6-2527" fmla="*/ 0 w 10562333"/>
              <a:gd name="connsiteY6-2528" fmla="*/ 3705154 h 3985621"/>
              <a:gd name="connsiteX7-2529" fmla="*/ 0 w 10562333"/>
              <a:gd name="connsiteY7-2530" fmla="*/ 45321 h 3985621"/>
              <a:gd name="connsiteX0-2531" fmla="*/ 0 w 10562333"/>
              <a:gd name="connsiteY0-2532" fmla="*/ 34689 h 3974989"/>
              <a:gd name="connsiteX1-2533" fmla="*/ 10559884 w 10562333"/>
              <a:gd name="connsiteY1-2534" fmla="*/ 0 h 3974989"/>
              <a:gd name="connsiteX2-2535" fmla="*/ 10561079 w 10562333"/>
              <a:gd name="connsiteY2-2536" fmla="*/ 3974989 h 3974989"/>
              <a:gd name="connsiteX3-2537" fmla="*/ 9024769 w 10562333"/>
              <a:gd name="connsiteY3-2538" fmla="*/ 3716089 h 3974989"/>
              <a:gd name="connsiteX4-2539" fmla="*/ 2295230 w 10562333"/>
              <a:gd name="connsiteY4-2540" fmla="*/ 3701233 h 3974989"/>
              <a:gd name="connsiteX5-2541" fmla="*/ 1200558 w 10562333"/>
              <a:gd name="connsiteY5-2542" fmla="*/ 2979433 h 3974989"/>
              <a:gd name="connsiteX6-2543" fmla="*/ 0 w 10562333"/>
              <a:gd name="connsiteY6-2544" fmla="*/ 3694522 h 3974989"/>
              <a:gd name="connsiteX7-2545" fmla="*/ 0 w 10562333"/>
              <a:gd name="connsiteY7-2546" fmla="*/ 34689 h 3974989"/>
              <a:gd name="connsiteX0-2547" fmla="*/ 0 w 10562333"/>
              <a:gd name="connsiteY0-2548" fmla="*/ 34689 h 3974989"/>
              <a:gd name="connsiteX1-2549" fmla="*/ 10559884 w 10562333"/>
              <a:gd name="connsiteY1-2550" fmla="*/ 0 h 3974989"/>
              <a:gd name="connsiteX2-2551" fmla="*/ 10561079 w 10562333"/>
              <a:gd name="connsiteY2-2552" fmla="*/ 3974989 h 3974989"/>
              <a:gd name="connsiteX3-2553" fmla="*/ 9024769 w 10562333"/>
              <a:gd name="connsiteY3-2554" fmla="*/ 3716089 h 3974989"/>
              <a:gd name="connsiteX4-2555" fmla="*/ 2295230 w 10562333"/>
              <a:gd name="connsiteY4-2556" fmla="*/ 3701233 h 3974989"/>
              <a:gd name="connsiteX5-2557" fmla="*/ 1200558 w 10562333"/>
              <a:gd name="connsiteY5-2558" fmla="*/ 2979433 h 3974989"/>
              <a:gd name="connsiteX6-2559" fmla="*/ 0 w 10562333"/>
              <a:gd name="connsiteY6-2560" fmla="*/ 3694522 h 3974989"/>
              <a:gd name="connsiteX7-2561" fmla="*/ 0 w 10562333"/>
              <a:gd name="connsiteY7-2562" fmla="*/ 34689 h 3974989"/>
              <a:gd name="connsiteX0-2563" fmla="*/ 0 w 10562333"/>
              <a:gd name="connsiteY0-2564" fmla="*/ 34689 h 3974989"/>
              <a:gd name="connsiteX1-2565" fmla="*/ 10559884 w 10562333"/>
              <a:gd name="connsiteY1-2566" fmla="*/ 0 h 3974989"/>
              <a:gd name="connsiteX2-2567" fmla="*/ 10561079 w 10562333"/>
              <a:gd name="connsiteY2-2568" fmla="*/ 3974989 h 3974989"/>
              <a:gd name="connsiteX3-2569" fmla="*/ 9024769 w 10562333"/>
              <a:gd name="connsiteY3-2570" fmla="*/ 3716089 h 3974989"/>
              <a:gd name="connsiteX4-2571" fmla="*/ 2295230 w 10562333"/>
              <a:gd name="connsiteY4-2572" fmla="*/ 3701233 h 3974989"/>
              <a:gd name="connsiteX5-2573" fmla="*/ 1200558 w 10562333"/>
              <a:gd name="connsiteY5-2574" fmla="*/ 2979433 h 3974989"/>
              <a:gd name="connsiteX6-2575" fmla="*/ 0 w 10562333"/>
              <a:gd name="connsiteY6-2576" fmla="*/ 3694522 h 3974989"/>
              <a:gd name="connsiteX7-2577" fmla="*/ 0 w 10562333"/>
              <a:gd name="connsiteY7-2578" fmla="*/ 34689 h 3974989"/>
              <a:gd name="connsiteX0-2579" fmla="*/ 0 w 10562333"/>
              <a:gd name="connsiteY0-2580" fmla="*/ 32735 h 4026198"/>
              <a:gd name="connsiteX1-2581" fmla="*/ 10559884 w 10562333"/>
              <a:gd name="connsiteY1-2582" fmla="*/ 51209 h 4026198"/>
              <a:gd name="connsiteX2-2583" fmla="*/ 10561079 w 10562333"/>
              <a:gd name="connsiteY2-2584" fmla="*/ 4026198 h 4026198"/>
              <a:gd name="connsiteX3-2585" fmla="*/ 9024769 w 10562333"/>
              <a:gd name="connsiteY3-2586" fmla="*/ 3767298 h 4026198"/>
              <a:gd name="connsiteX4-2587" fmla="*/ 2295230 w 10562333"/>
              <a:gd name="connsiteY4-2588" fmla="*/ 3752442 h 4026198"/>
              <a:gd name="connsiteX5-2589" fmla="*/ 1200558 w 10562333"/>
              <a:gd name="connsiteY5-2590" fmla="*/ 3030642 h 4026198"/>
              <a:gd name="connsiteX6-2591" fmla="*/ 0 w 10562333"/>
              <a:gd name="connsiteY6-2592" fmla="*/ 3745731 h 4026198"/>
              <a:gd name="connsiteX7-2593" fmla="*/ 0 w 10562333"/>
              <a:gd name="connsiteY7-2594" fmla="*/ 32735 h 4026198"/>
              <a:gd name="connsiteX0-2595" fmla="*/ 0 w 10562333"/>
              <a:gd name="connsiteY0-2596" fmla="*/ 32735 h 4026198"/>
              <a:gd name="connsiteX1-2597" fmla="*/ 10559884 w 10562333"/>
              <a:gd name="connsiteY1-2598" fmla="*/ 51209 h 4026198"/>
              <a:gd name="connsiteX2-2599" fmla="*/ 10561079 w 10562333"/>
              <a:gd name="connsiteY2-2600" fmla="*/ 4026198 h 4026198"/>
              <a:gd name="connsiteX3-2601" fmla="*/ 9024769 w 10562333"/>
              <a:gd name="connsiteY3-2602" fmla="*/ 3767298 h 4026198"/>
              <a:gd name="connsiteX4-2603" fmla="*/ 2295230 w 10562333"/>
              <a:gd name="connsiteY4-2604" fmla="*/ 3752442 h 4026198"/>
              <a:gd name="connsiteX5-2605" fmla="*/ 1200558 w 10562333"/>
              <a:gd name="connsiteY5-2606" fmla="*/ 3030642 h 4026198"/>
              <a:gd name="connsiteX6-2607" fmla="*/ 0 w 10562333"/>
              <a:gd name="connsiteY6-2608" fmla="*/ 3745731 h 4026198"/>
              <a:gd name="connsiteX7-2609" fmla="*/ 0 w 10562333"/>
              <a:gd name="connsiteY7-2610" fmla="*/ 32735 h 4026198"/>
              <a:gd name="connsiteX0-2611" fmla="*/ 10559884 w 10650182"/>
              <a:gd name="connsiteY0-2612" fmla="*/ 18474 h 3993463"/>
              <a:gd name="connsiteX1-2613" fmla="*/ 10561079 w 10650182"/>
              <a:gd name="connsiteY1-2614" fmla="*/ 3993463 h 3993463"/>
              <a:gd name="connsiteX2-2615" fmla="*/ 9024769 w 10650182"/>
              <a:gd name="connsiteY2-2616" fmla="*/ 3734563 h 3993463"/>
              <a:gd name="connsiteX3-2617" fmla="*/ 2295230 w 10650182"/>
              <a:gd name="connsiteY3-2618" fmla="*/ 3719707 h 3993463"/>
              <a:gd name="connsiteX4-2619" fmla="*/ 1200558 w 10650182"/>
              <a:gd name="connsiteY4-2620" fmla="*/ 2997907 h 3993463"/>
              <a:gd name="connsiteX5-2621" fmla="*/ 0 w 10650182"/>
              <a:gd name="connsiteY5-2622" fmla="*/ 3712996 h 3993463"/>
              <a:gd name="connsiteX6-2623" fmla="*/ 0 w 10650182"/>
              <a:gd name="connsiteY6-2624" fmla="*/ 0 h 3993463"/>
              <a:gd name="connsiteX7-2625" fmla="*/ 10650182 w 10650182"/>
              <a:gd name="connsiteY7-2626" fmla="*/ 109914 h 3993463"/>
              <a:gd name="connsiteX0-2627" fmla="*/ 10559884 w 10562333"/>
              <a:gd name="connsiteY0-2628" fmla="*/ 18474 h 3993463"/>
              <a:gd name="connsiteX1-2629" fmla="*/ 10561079 w 10562333"/>
              <a:gd name="connsiteY1-2630" fmla="*/ 3993463 h 3993463"/>
              <a:gd name="connsiteX2-2631" fmla="*/ 9024769 w 10562333"/>
              <a:gd name="connsiteY2-2632" fmla="*/ 3734563 h 3993463"/>
              <a:gd name="connsiteX3-2633" fmla="*/ 2295230 w 10562333"/>
              <a:gd name="connsiteY3-2634" fmla="*/ 3719707 h 3993463"/>
              <a:gd name="connsiteX4-2635" fmla="*/ 1200558 w 10562333"/>
              <a:gd name="connsiteY4-2636" fmla="*/ 2997907 h 3993463"/>
              <a:gd name="connsiteX5-2637" fmla="*/ 0 w 10562333"/>
              <a:gd name="connsiteY5-2638" fmla="*/ 3712996 h 3993463"/>
              <a:gd name="connsiteX6-2639" fmla="*/ 0 w 10562333"/>
              <a:gd name="connsiteY6-2640" fmla="*/ 0 h 3993463"/>
              <a:gd name="connsiteX7-2641" fmla="*/ 10285606 w 10562333"/>
              <a:gd name="connsiteY7-2642" fmla="*/ 418258 h 3993463"/>
              <a:gd name="connsiteX0-2643" fmla="*/ 10559884 w 10562333"/>
              <a:gd name="connsiteY0-2644" fmla="*/ 18474 h 3993463"/>
              <a:gd name="connsiteX1-2645" fmla="*/ 10561079 w 10562333"/>
              <a:gd name="connsiteY1-2646" fmla="*/ 3993463 h 3993463"/>
              <a:gd name="connsiteX2-2647" fmla="*/ 9024769 w 10562333"/>
              <a:gd name="connsiteY2-2648" fmla="*/ 3734563 h 3993463"/>
              <a:gd name="connsiteX3-2649" fmla="*/ 2295230 w 10562333"/>
              <a:gd name="connsiteY3-2650" fmla="*/ 3719707 h 3993463"/>
              <a:gd name="connsiteX4-2651" fmla="*/ 1200558 w 10562333"/>
              <a:gd name="connsiteY4-2652" fmla="*/ 2997907 h 3993463"/>
              <a:gd name="connsiteX5-2653" fmla="*/ 0 w 10562333"/>
              <a:gd name="connsiteY5-2654" fmla="*/ 3712996 h 3993463"/>
              <a:gd name="connsiteX6-2655" fmla="*/ 0 w 10562333"/>
              <a:gd name="connsiteY6-2656" fmla="*/ 0 h 3993463"/>
              <a:gd name="connsiteX7-2657" fmla="*/ 9991611 w 10562333"/>
              <a:gd name="connsiteY7-2658" fmla="*/ 56751 h 3993463"/>
              <a:gd name="connsiteX0-2659" fmla="*/ 10559884 w 10562333"/>
              <a:gd name="connsiteY0-2660" fmla="*/ 18474 h 3993463"/>
              <a:gd name="connsiteX1-2661" fmla="*/ 10561079 w 10562333"/>
              <a:gd name="connsiteY1-2662" fmla="*/ 3993463 h 3993463"/>
              <a:gd name="connsiteX2-2663" fmla="*/ 9024769 w 10562333"/>
              <a:gd name="connsiteY2-2664" fmla="*/ 3734563 h 3993463"/>
              <a:gd name="connsiteX3-2665" fmla="*/ 2295230 w 10562333"/>
              <a:gd name="connsiteY3-2666" fmla="*/ 3719707 h 3993463"/>
              <a:gd name="connsiteX4-2667" fmla="*/ 1200558 w 10562333"/>
              <a:gd name="connsiteY4-2668" fmla="*/ 2997907 h 3993463"/>
              <a:gd name="connsiteX5-2669" fmla="*/ 0 w 10562333"/>
              <a:gd name="connsiteY5-2670" fmla="*/ 3712996 h 3993463"/>
              <a:gd name="connsiteX6-2671" fmla="*/ 0 w 10562333"/>
              <a:gd name="connsiteY6-2672" fmla="*/ 0 h 3993463"/>
              <a:gd name="connsiteX0-2673" fmla="*/ 10562333 w 10562846"/>
              <a:gd name="connsiteY0-2674" fmla="*/ 0 h 3993463"/>
              <a:gd name="connsiteX1-2675" fmla="*/ 10561079 w 10562846"/>
              <a:gd name="connsiteY1-2676" fmla="*/ 3993463 h 3993463"/>
              <a:gd name="connsiteX2-2677" fmla="*/ 9024769 w 10562846"/>
              <a:gd name="connsiteY2-2678" fmla="*/ 3734563 h 3993463"/>
              <a:gd name="connsiteX3-2679" fmla="*/ 2295230 w 10562846"/>
              <a:gd name="connsiteY3-2680" fmla="*/ 3719707 h 3993463"/>
              <a:gd name="connsiteX4-2681" fmla="*/ 1200558 w 10562846"/>
              <a:gd name="connsiteY4-2682" fmla="*/ 2997907 h 3993463"/>
              <a:gd name="connsiteX5-2683" fmla="*/ 0 w 10562846"/>
              <a:gd name="connsiteY5-2684" fmla="*/ 3712996 h 3993463"/>
              <a:gd name="connsiteX6-2685" fmla="*/ 0 w 10562846"/>
              <a:gd name="connsiteY6-2686" fmla="*/ 0 h 3993463"/>
              <a:gd name="connsiteX0-2687" fmla="*/ 10562333 w 10562846"/>
              <a:gd name="connsiteY0-2688" fmla="*/ 0 h 3993463"/>
              <a:gd name="connsiteX1-2689" fmla="*/ 10561079 w 10562846"/>
              <a:gd name="connsiteY1-2690" fmla="*/ 3993463 h 3993463"/>
              <a:gd name="connsiteX2-2691" fmla="*/ 9024769 w 10562846"/>
              <a:gd name="connsiteY2-2692" fmla="*/ 3734563 h 3993463"/>
              <a:gd name="connsiteX3-2693" fmla="*/ 2295230 w 10562846"/>
              <a:gd name="connsiteY3-2694" fmla="*/ 3719707 h 3993463"/>
              <a:gd name="connsiteX4-2695" fmla="*/ 1200558 w 10562846"/>
              <a:gd name="connsiteY4-2696" fmla="*/ 2997907 h 3993463"/>
              <a:gd name="connsiteX5-2697" fmla="*/ 2449 w 10562846"/>
              <a:gd name="connsiteY5-2698" fmla="*/ 3734261 h 3993463"/>
              <a:gd name="connsiteX6-2699" fmla="*/ 0 w 10562846"/>
              <a:gd name="connsiteY6-2700" fmla="*/ 0 h 3993463"/>
              <a:gd name="connsiteX0-2701" fmla="*/ 10562334 w 10562847"/>
              <a:gd name="connsiteY0-2702" fmla="*/ 1074357 h 5067820"/>
              <a:gd name="connsiteX1-2703" fmla="*/ 10561080 w 10562847"/>
              <a:gd name="connsiteY1-2704" fmla="*/ 5067820 h 5067820"/>
              <a:gd name="connsiteX2-2705" fmla="*/ 9024770 w 10562847"/>
              <a:gd name="connsiteY2-2706" fmla="*/ 4808920 h 5067820"/>
              <a:gd name="connsiteX3-2707" fmla="*/ 2295231 w 10562847"/>
              <a:gd name="connsiteY3-2708" fmla="*/ 4794064 h 5067820"/>
              <a:gd name="connsiteX4-2709" fmla="*/ 1200559 w 10562847"/>
              <a:gd name="connsiteY4-2710" fmla="*/ 4072264 h 5067820"/>
              <a:gd name="connsiteX5-2711" fmla="*/ 2450 w 10562847"/>
              <a:gd name="connsiteY5-2712" fmla="*/ 4808618 h 5067820"/>
              <a:gd name="connsiteX6-2713" fmla="*/ 0 w 10562847"/>
              <a:gd name="connsiteY6-2714" fmla="*/ 0 h 5067820"/>
              <a:gd name="connsiteX0-2715" fmla="*/ 10562847 w 10563360"/>
              <a:gd name="connsiteY0-2716" fmla="*/ 0 h 5067820"/>
              <a:gd name="connsiteX1-2717" fmla="*/ 10561080 w 10563360"/>
              <a:gd name="connsiteY1-2718" fmla="*/ 5067820 h 5067820"/>
              <a:gd name="connsiteX2-2719" fmla="*/ 9024770 w 10563360"/>
              <a:gd name="connsiteY2-2720" fmla="*/ 4808920 h 5067820"/>
              <a:gd name="connsiteX3-2721" fmla="*/ 2295231 w 10563360"/>
              <a:gd name="connsiteY3-2722" fmla="*/ 4794064 h 5067820"/>
              <a:gd name="connsiteX4-2723" fmla="*/ 1200559 w 10563360"/>
              <a:gd name="connsiteY4-2724" fmla="*/ 4072264 h 5067820"/>
              <a:gd name="connsiteX5-2725" fmla="*/ 2450 w 10563360"/>
              <a:gd name="connsiteY5-2726" fmla="*/ 4808618 h 5067820"/>
              <a:gd name="connsiteX6-2727" fmla="*/ 0 w 10563360"/>
              <a:gd name="connsiteY6-2728" fmla="*/ 0 h 5067820"/>
              <a:gd name="connsiteX0-2729" fmla="*/ 10562847 w 10563360"/>
              <a:gd name="connsiteY0-2730" fmla="*/ 0 h 5067820"/>
              <a:gd name="connsiteX1-2731" fmla="*/ 10561080 w 10563360"/>
              <a:gd name="connsiteY1-2732" fmla="*/ 5067820 h 5067820"/>
              <a:gd name="connsiteX2-2733" fmla="*/ 9024770 w 10563360"/>
              <a:gd name="connsiteY2-2734" fmla="*/ 4808920 h 5067820"/>
              <a:gd name="connsiteX3-2735" fmla="*/ 2295231 w 10563360"/>
              <a:gd name="connsiteY3-2736" fmla="*/ 4794064 h 5067820"/>
              <a:gd name="connsiteX4-2737" fmla="*/ 1200559 w 10563360"/>
              <a:gd name="connsiteY4-2738" fmla="*/ 4072264 h 5067820"/>
              <a:gd name="connsiteX5-2739" fmla="*/ 514 w 10563360"/>
              <a:gd name="connsiteY5-2740" fmla="*/ 4819150 h 5067820"/>
              <a:gd name="connsiteX6-2741" fmla="*/ 0 w 10563360"/>
              <a:gd name="connsiteY6-2742" fmla="*/ 0 h 5067820"/>
              <a:gd name="connsiteX0-2743" fmla="*/ 10562847 w 10564614"/>
              <a:gd name="connsiteY0-2744" fmla="*/ 0 h 5152083"/>
              <a:gd name="connsiteX1-2745" fmla="*/ 10563360 w 10564614"/>
              <a:gd name="connsiteY1-2746" fmla="*/ 5152083 h 5152083"/>
              <a:gd name="connsiteX2-2747" fmla="*/ 9024770 w 10564614"/>
              <a:gd name="connsiteY2-2748" fmla="*/ 4808920 h 5152083"/>
              <a:gd name="connsiteX3-2749" fmla="*/ 2295231 w 10564614"/>
              <a:gd name="connsiteY3-2750" fmla="*/ 4794064 h 5152083"/>
              <a:gd name="connsiteX4-2751" fmla="*/ 1200559 w 10564614"/>
              <a:gd name="connsiteY4-2752" fmla="*/ 4072264 h 5152083"/>
              <a:gd name="connsiteX5-2753" fmla="*/ 514 w 10564614"/>
              <a:gd name="connsiteY5-2754" fmla="*/ 4819150 h 5152083"/>
              <a:gd name="connsiteX6-2755" fmla="*/ 0 w 10564614"/>
              <a:gd name="connsiteY6-2756" fmla="*/ 0 h 5152083"/>
              <a:gd name="connsiteX0-2757" fmla="*/ 10562847 w 10564614"/>
              <a:gd name="connsiteY0-2758" fmla="*/ 0 h 5183681"/>
              <a:gd name="connsiteX1-2759" fmla="*/ 10563360 w 10564614"/>
              <a:gd name="connsiteY1-2760" fmla="*/ 5183681 h 5183681"/>
              <a:gd name="connsiteX2-2761" fmla="*/ 9024770 w 10564614"/>
              <a:gd name="connsiteY2-2762" fmla="*/ 4808920 h 5183681"/>
              <a:gd name="connsiteX3-2763" fmla="*/ 2295231 w 10564614"/>
              <a:gd name="connsiteY3-2764" fmla="*/ 4794064 h 5183681"/>
              <a:gd name="connsiteX4-2765" fmla="*/ 1200559 w 10564614"/>
              <a:gd name="connsiteY4-2766" fmla="*/ 4072264 h 5183681"/>
              <a:gd name="connsiteX5-2767" fmla="*/ 514 w 10564614"/>
              <a:gd name="connsiteY5-2768" fmla="*/ 4819150 h 5183681"/>
              <a:gd name="connsiteX6-2769" fmla="*/ 0 w 10564614"/>
              <a:gd name="connsiteY6-2770" fmla="*/ 0 h 5183681"/>
              <a:gd name="connsiteX0-2771" fmla="*/ 10562847 w 10564614"/>
              <a:gd name="connsiteY0-2772" fmla="*/ 0 h 5657661"/>
              <a:gd name="connsiteX1-2773" fmla="*/ 10563360 w 10564614"/>
              <a:gd name="connsiteY1-2774" fmla="*/ 5657661 h 5657661"/>
              <a:gd name="connsiteX2-2775" fmla="*/ 9024770 w 10564614"/>
              <a:gd name="connsiteY2-2776" fmla="*/ 4808920 h 5657661"/>
              <a:gd name="connsiteX3-2777" fmla="*/ 2295231 w 10564614"/>
              <a:gd name="connsiteY3-2778" fmla="*/ 4794064 h 5657661"/>
              <a:gd name="connsiteX4-2779" fmla="*/ 1200559 w 10564614"/>
              <a:gd name="connsiteY4-2780" fmla="*/ 4072264 h 5657661"/>
              <a:gd name="connsiteX5-2781" fmla="*/ 514 w 10564614"/>
              <a:gd name="connsiteY5-2782" fmla="*/ 4819150 h 5657661"/>
              <a:gd name="connsiteX6-2783" fmla="*/ 0 w 10564614"/>
              <a:gd name="connsiteY6-2784" fmla="*/ 0 h 5657661"/>
              <a:gd name="connsiteX0-2785" fmla="*/ 10562847 w 10564614"/>
              <a:gd name="connsiteY0-2786" fmla="*/ 0 h 5657661"/>
              <a:gd name="connsiteX1-2787" fmla="*/ 10563360 w 10564614"/>
              <a:gd name="connsiteY1-2788" fmla="*/ 5657661 h 5657661"/>
              <a:gd name="connsiteX2-2789" fmla="*/ 9024770 w 10564614"/>
              <a:gd name="connsiteY2-2790" fmla="*/ 4808920 h 5657661"/>
              <a:gd name="connsiteX3-2791" fmla="*/ 2295231 w 10564614"/>
              <a:gd name="connsiteY3-2792" fmla="*/ 4794064 h 5657661"/>
              <a:gd name="connsiteX4-2793" fmla="*/ 1200559 w 10564614"/>
              <a:gd name="connsiteY4-2794" fmla="*/ 4072264 h 5657661"/>
              <a:gd name="connsiteX5-2795" fmla="*/ 514 w 10564614"/>
              <a:gd name="connsiteY5-2796" fmla="*/ 4819150 h 5657661"/>
              <a:gd name="connsiteX6-2797" fmla="*/ 0 w 10564614"/>
              <a:gd name="connsiteY6-2798" fmla="*/ 0 h 5657661"/>
              <a:gd name="connsiteX0-2799" fmla="*/ 10562847 w 10564614"/>
              <a:gd name="connsiteY0-2800" fmla="*/ 0 h 5657661"/>
              <a:gd name="connsiteX1-2801" fmla="*/ 10563360 w 10564614"/>
              <a:gd name="connsiteY1-2802" fmla="*/ 5657661 h 5657661"/>
              <a:gd name="connsiteX2-2803" fmla="*/ 9024770 w 10564614"/>
              <a:gd name="connsiteY2-2804" fmla="*/ 4808920 h 5657661"/>
              <a:gd name="connsiteX3-2805" fmla="*/ 2295231 w 10564614"/>
              <a:gd name="connsiteY3-2806" fmla="*/ 4794064 h 5657661"/>
              <a:gd name="connsiteX4-2807" fmla="*/ 1200559 w 10564614"/>
              <a:gd name="connsiteY4-2808" fmla="*/ 4072264 h 5657661"/>
              <a:gd name="connsiteX5-2809" fmla="*/ 514 w 10564614"/>
              <a:gd name="connsiteY5-2810" fmla="*/ 4819150 h 5657661"/>
              <a:gd name="connsiteX6-2811" fmla="*/ 0 w 10564614"/>
              <a:gd name="connsiteY6-2812" fmla="*/ 0 h 5657661"/>
              <a:gd name="connsiteX0-2813" fmla="*/ 10562847 w 10564614"/>
              <a:gd name="connsiteY0-2814" fmla="*/ 0 h 5657661"/>
              <a:gd name="connsiteX1-2815" fmla="*/ 10563360 w 10564614"/>
              <a:gd name="connsiteY1-2816" fmla="*/ 5657661 h 5657661"/>
              <a:gd name="connsiteX2-2817" fmla="*/ 9024770 w 10564614"/>
              <a:gd name="connsiteY2-2818" fmla="*/ 4808920 h 5657661"/>
              <a:gd name="connsiteX3-2819" fmla="*/ 2295231 w 10564614"/>
              <a:gd name="connsiteY3-2820" fmla="*/ 4794064 h 5657661"/>
              <a:gd name="connsiteX4-2821" fmla="*/ 1200559 w 10564614"/>
              <a:gd name="connsiteY4-2822" fmla="*/ 4072264 h 5657661"/>
              <a:gd name="connsiteX5-2823" fmla="*/ 514 w 10564614"/>
              <a:gd name="connsiteY5-2824" fmla="*/ 4819150 h 5657661"/>
              <a:gd name="connsiteX6-2825" fmla="*/ 0 w 10564614"/>
              <a:gd name="connsiteY6-2826" fmla="*/ 0 h 5657661"/>
              <a:gd name="connsiteX0-2827" fmla="*/ 10562847 w 10564614"/>
              <a:gd name="connsiteY0-2828" fmla="*/ 0 h 5657661"/>
              <a:gd name="connsiteX1-2829" fmla="*/ 10563360 w 10564614"/>
              <a:gd name="connsiteY1-2830" fmla="*/ 5657661 h 5657661"/>
              <a:gd name="connsiteX2-2831" fmla="*/ 9024770 w 10564614"/>
              <a:gd name="connsiteY2-2832" fmla="*/ 4808920 h 5657661"/>
              <a:gd name="connsiteX3-2833" fmla="*/ 2295231 w 10564614"/>
              <a:gd name="connsiteY3-2834" fmla="*/ 4794064 h 5657661"/>
              <a:gd name="connsiteX4-2835" fmla="*/ 1200559 w 10564614"/>
              <a:gd name="connsiteY4-2836" fmla="*/ 4072264 h 5657661"/>
              <a:gd name="connsiteX5-2837" fmla="*/ 514 w 10564614"/>
              <a:gd name="connsiteY5-2838" fmla="*/ 4787552 h 5657661"/>
              <a:gd name="connsiteX6-2839" fmla="*/ 0 w 10564614"/>
              <a:gd name="connsiteY6-2840" fmla="*/ 0 h 5657661"/>
              <a:gd name="connsiteX0-2841" fmla="*/ 10562847 w 10564614"/>
              <a:gd name="connsiteY0-2842" fmla="*/ 0 h 5657661"/>
              <a:gd name="connsiteX1-2843" fmla="*/ 10563360 w 10564614"/>
              <a:gd name="connsiteY1-2844" fmla="*/ 5657661 h 5657661"/>
              <a:gd name="connsiteX2-2845" fmla="*/ 9024770 w 10564614"/>
              <a:gd name="connsiteY2-2846" fmla="*/ 4808920 h 5657661"/>
              <a:gd name="connsiteX3-2847" fmla="*/ 2295231 w 10564614"/>
              <a:gd name="connsiteY3-2848" fmla="*/ 4794064 h 5657661"/>
              <a:gd name="connsiteX4-2849" fmla="*/ 1200559 w 10564614"/>
              <a:gd name="connsiteY4-2850" fmla="*/ 4072264 h 5657661"/>
              <a:gd name="connsiteX5-2851" fmla="*/ 514 w 10564614"/>
              <a:gd name="connsiteY5-2852" fmla="*/ 4798085 h 5657661"/>
              <a:gd name="connsiteX6-2853" fmla="*/ 0 w 10564614"/>
              <a:gd name="connsiteY6-2854" fmla="*/ 0 h 5657661"/>
              <a:gd name="connsiteX0-2855" fmla="*/ 10562847 w 10564614"/>
              <a:gd name="connsiteY0-2856" fmla="*/ 0 h 5657661"/>
              <a:gd name="connsiteX1-2857" fmla="*/ 10563360 w 10564614"/>
              <a:gd name="connsiteY1-2858" fmla="*/ 5657661 h 5657661"/>
              <a:gd name="connsiteX2-2859" fmla="*/ 9024770 w 10564614"/>
              <a:gd name="connsiteY2-2860" fmla="*/ 4808920 h 5657661"/>
              <a:gd name="connsiteX3-2861" fmla="*/ 2295231 w 10564614"/>
              <a:gd name="connsiteY3-2862" fmla="*/ 4794064 h 5657661"/>
              <a:gd name="connsiteX4-2863" fmla="*/ 1200559 w 10564614"/>
              <a:gd name="connsiteY4-2864" fmla="*/ 4072264 h 5657661"/>
              <a:gd name="connsiteX5-2865" fmla="*/ 514 w 10564614"/>
              <a:gd name="connsiteY5-2866" fmla="*/ 4798085 h 5657661"/>
              <a:gd name="connsiteX6-2867" fmla="*/ 0 w 10564614"/>
              <a:gd name="connsiteY6-2868" fmla="*/ 0 h 5657661"/>
              <a:gd name="connsiteX0-2869" fmla="*/ 10562847 w 10564614"/>
              <a:gd name="connsiteY0-2870" fmla="*/ 0 h 5657661"/>
              <a:gd name="connsiteX1-2871" fmla="*/ 10563360 w 10564614"/>
              <a:gd name="connsiteY1-2872" fmla="*/ 5657661 h 5657661"/>
              <a:gd name="connsiteX2-2873" fmla="*/ 9024770 w 10564614"/>
              <a:gd name="connsiteY2-2874" fmla="*/ 4808920 h 5657661"/>
              <a:gd name="connsiteX3-2875" fmla="*/ 2295231 w 10564614"/>
              <a:gd name="connsiteY3-2876" fmla="*/ 4794064 h 5657661"/>
              <a:gd name="connsiteX4-2877" fmla="*/ 1200559 w 10564614"/>
              <a:gd name="connsiteY4-2878" fmla="*/ 4072264 h 5657661"/>
              <a:gd name="connsiteX5-2879" fmla="*/ 514 w 10564614"/>
              <a:gd name="connsiteY5-2880" fmla="*/ 4798085 h 5657661"/>
              <a:gd name="connsiteX6-2881" fmla="*/ 0 w 10564614"/>
              <a:gd name="connsiteY6-2882" fmla="*/ 0 h 5657661"/>
              <a:gd name="connsiteX0-2883" fmla="*/ 10562847 w 10564614"/>
              <a:gd name="connsiteY0-2884" fmla="*/ 0 h 5657661"/>
              <a:gd name="connsiteX1-2885" fmla="*/ 10563360 w 10564614"/>
              <a:gd name="connsiteY1-2886" fmla="*/ 5657661 h 5657661"/>
              <a:gd name="connsiteX2-2887" fmla="*/ 9024770 w 10564614"/>
              <a:gd name="connsiteY2-2888" fmla="*/ 4808920 h 5657661"/>
              <a:gd name="connsiteX3-2889" fmla="*/ 2295231 w 10564614"/>
              <a:gd name="connsiteY3-2890" fmla="*/ 4794064 h 5657661"/>
              <a:gd name="connsiteX4-2891" fmla="*/ 1200559 w 10564614"/>
              <a:gd name="connsiteY4-2892" fmla="*/ 4072264 h 5657661"/>
              <a:gd name="connsiteX5-2893" fmla="*/ 514 w 10564614"/>
              <a:gd name="connsiteY5-2894" fmla="*/ 4798085 h 5657661"/>
              <a:gd name="connsiteX6-2895" fmla="*/ 0 w 10564614"/>
              <a:gd name="connsiteY6-2896" fmla="*/ 0 h 5657661"/>
              <a:gd name="connsiteX0-2897" fmla="*/ 10562847 w 10564614"/>
              <a:gd name="connsiteY0-2898" fmla="*/ 0 h 5657661"/>
              <a:gd name="connsiteX1-2899" fmla="*/ 10563360 w 10564614"/>
              <a:gd name="connsiteY1-2900" fmla="*/ 5657661 h 5657661"/>
              <a:gd name="connsiteX2-2901" fmla="*/ 9024770 w 10564614"/>
              <a:gd name="connsiteY2-2902" fmla="*/ 4808920 h 5657661"/>
              <a:gd name="connsiteX3-2903" fmla="*/ 2295231 w 10564614"/>
              <a:gd name="connsiteY3-2904" fmla="*/ 4794064 h 5657661"/>
              <a:gd name="connsiteX4-2905" fmla="*/ 1200559 w 10564614"/>
              <a:gd name="connsiteY4-2906" fmla="*/ 4072264 h 5657661"/>
              <a:gd name="connsiteX5-2907" fmla="*/ 514 w 10564614"/>
              <a:gd name="connsiteY5-2908" fmla="*/ 4798085 h 5657661"/>
              <a:gd name="connsiteX6-2909" fmla="*/ 0 w 10564614"/>
              <a:gd name="connsiteY6-2910" fmla="*/ 0 h 565766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algn="ctr" defTabSz="957580" fontAlgn="auto">
              <a:spcBef>
                <a:spcPts val="0"/>
              </a:spcBef>
              <a:spcAft>
                <a:spcPts val="0"/>
              </a:spcAft>
              <a:defRPr/>
            </a:pPr>
            <a:endParaRPr lang="en-US" sz="1000" dirty="0">
              <a:solidFill>
                <a:schemeClr val="bg1"/>
              </a:solidFill>
              <a:latin typeface="Arial" panose="020B0604020202020204"/>
              <a:cs typeface="Arial" panose="020B0604020202020204"/>
            </a:endParaRPr>
          </a:p>
        </p:txBody>
      </p:sp>
      <p:pic>
        <p:nvPicPr>
          <p:cNvPr id="13317" name="Picture 104" descr="C:\Users\UserSim\Desktop\Capgemini\moto.emf"/>
          <p:cNvPicPr>
            <a:picLocks noChangeAspect="1" noChangeArrowheads="1"/>
          </p:cNvPicPr>
          <p:nvPr>
            <p:custDataLst>
              <p:tags r:id="rId5"/>
            </p:custDataLst>
          </p:nvPr>
        </p:nvPicPr>
        <p:blipFill>
          <a:blip r:embed="rId6" cstate="print"/>
          <a:srcRect/>
          <a:stretch>
            <a:fillRect/>
          </a:stretch>
        </p:blipFill>
        <p:spPr bwMode="auto">
          <a:xfrm>
            <a:off x="7885724" y="1209675"/>
            <a:ext cx="3544277" cy="228600"/>
          </a:xfrm>
          <a:prstGeom prst="rect">
            <a:avLst/>
          </a:prstGeom>
          <a:noFill/>
          <a:ln w="9525">
            <a:noFill/>
            <a:miter lim="800000"/>
            <a:headEnd/>
            <a:tailEnd/>
          </a:ln>
        </p:spPr>
      </p:pic>
      <p:sp>
        <p:nvSpPr>
          <p:cNvPr id="15" name="Rectangle 14"/>
          <p:cNvSpPr/>
          <p:nvPr>
            <p:custDataLst>
              <p:tags r:id="rId7"/>
            </p:custDataLst>
          </p:nvPr>
        </p:nvSpPr>
        <p:spPr>
          <a:xfrm>
            <a:off x="8906746" y="5458345"/>
            <a:ext cx="2523255" cy="380480"/>
          </a:xfrm>
          <a:prstGeom prst="rect">
            <a:avLst/>
          </a:prstGeom>
        </p:spPr>
        <p:txBody>
          <a:bodyPr wrap="none" lIns="0" tIns="36000" rIns="0" bIns="36000" anchor="b">
            <a:spAutoFit/>
          </a:bodyPr>
          <a:lstStyle/>
          <a:p>
            <a:pPr algn="r" defTabSz="957580" fontAlgn="auto">
              <a:spcBef>
                <a:spcPts val="0"/>
              </a:spcBef>
              <a:spcAft>
                <a:spcPts val="0"/>
              </a:spcAft>
              <a:defRPr/>
            </a:pPr>
            <a:r>
              <a:rPr lang="en-US" sz="2000" b="1" dirty="0">
                <a:solidFill>
                  <a:schemeClr val="bg1"/>
                </a:solidFill>
              </a:rPr>
              <a:t>www.capgemini.com</a:t>
            </a:r>
            <a:endParaRPr lang="en-US" sz="2000" b="1" dirty="0">
              <a:solidFill>
                <a:schemeClr val="bg1"/>
              </a:solidFill>
            </a:endParaRPr>
          </a:p>
        </p:txBody>
      </p:sp>
      <p:pic>
        <p:nvPicPr>
          <p:cNvPr id="13319" name="Picture 3" descr="C:\Users\UserSim\Desktop\DS_icons\128x128 shadows\facebook.png">
            <a:hlinkClick r:id="rId8"/>
          </p:cNvPr>
          <p:cNvPicPr>
            <a:picLocks noChangeAspect="1" noChangeArrowheads="1"/>
          </p:cNvPicPr>
          <p:nvPr>
            <p:custDataLst>
              <p:tags r:id="rId9"/>
            </p:custDataLst>
          </p:nvPr>
        </p:nvPicPr>
        <p:blipFill>
          <a:blip r:embed="rId10" cstate="print"/>
          <a:srcRect/>
          <a:stretch>
            <a:fillRect/>
          </a:stretch>
        </p:blipFill>
        <p:spPr bwMode="auto">
          <a:xfrm>
            <a:off x="9464431" y="5932489"/>
            <a:ext cx="341924" cy="263525"/>
          </a:xfrm>
          <a:prstGeom prst="rect">
            <a:avLst/>
          </a:prstGeom>
          <a:noFill/>
          <a:ln w="9525">
            <a:noFill/>
            <a:miter lim="800000"/>
            <a:headEnd/>
            <a:tailEnd/>
          </a:ln>
        </p:spPr>
      </p:pic>
      <p:pic>
        <p:nvPicPr>
          <p:cNvPr id="13320" name="Picture 4" descr="C:\Users\UserSim\Desktop\DS_icons\128x128 shadows\linkedin.png">
            <a:hlinkClick r:id="rId11"/>
          </p:cNvPr>
          <p:cNvPicPr>
            <a:picLocks noChangeAspect="1" noChangeArrowheads="1"/>
          </p:cNvPicPr>
          <p:nvPr>
            <p:custDataLst>
              <p:tags r:id="rId12"/>
            </p:custDataLst>
          </p:nvPr>
        </p:nvPicPr>
        <p:blipFill>
          <a:blip r:embed="rId13" cstate="print"/>
          <a:srcRect/>
          <a:stretch>
            <a:fillRect/>
          </a:stretch>
        </p:blipFill>
        <p:spPr bwMode="auto">
          <a:xfrm>
            <a:off x="9876693" y="5932488"/>
            <a:ext cx="347785" cy="266700"/>
          </a:xfrm>
          <a:prstGeom prst="rect">
            <a:avLst/>
          </a:prstGeom>
          <a:noFill/>
          <a:ln w="9525">
            <a:noFill/>
            <a:miter lim="800000"/>
            <a:headEnd/>
            <a:tailEnd/>
          </a:ln>
        </p:spPr>
      </p:pic>
      <p:pic>
        <p:nvPicPr>
          <p:cNvPr id="13321" name="Picture 5" descr="C:\Users\UserSim\Desktop\DS_icons\128x128 shadows\twitter.png">
            <a:hlinkClick r:id="rId14"/>
          </p:cNvPr>
          <p:cNvPicPr>
            <a:picLocks noChangeAspect="1" noChangeArrowheads="1"/>
          </p:cNvPicPr>
          <p:nvPr>
            <p:custDataLst>
              <p:tags r:id="rId15"/>
            </p:custDataLst>
          </p:nvPr>
        </p:nvPicPr>
        <p:blipFill>
          <a:blip r:embed="rId16" cstate="print"/>
          <a:srcRect/>
          <a:stretch>
            <a:fillRect/>
          </a:stretch>
        </p:blipFill>
        <p:spPr bwMode="auto">
          <a:xfrm>
            <a:off x="10652369" y="5932488"/>
            <a:ext cx="345831" cy="266700"/>
          </a:xfrm>
          <a:prstGeom prst="rect">
            <a:avLst/>
          </a:prstGeom>
          <a:noFill/>
          <a:ln w="9525">
            <a:noFill/>
            <a:miter lim="800000"/>
            <a:headEnd/>
            <a:tailEnd/>
          </a:ln>
        </p:spPr>
      </p:pic>
      <p:pic>
        <p:nvPicPr>
          <p:cNvPr id="13322" name="Picture 6" descr="C:\Users\UserSim\Desktop\DS_icons\128x128 shadows\youtube.png">
            <a:hlinkClick r:id="rId17"/>
          </p:cNvPr>
          <p:cNvPicPr>
            <a:picLocks noChangeAspect="1" noChangeArrowheads="1"/>
          </p:cNvPicPr>
          <p:nvPr>
            <p:custDataLst>
              <p:tags r:id="rId18"/>
            </p:custDataLst>
          </p:nvPr>
        </p:nvPicPr>
        <p:blipFill>
          <a:blip r:embed="rId19" cstate="print"/>
          <a:srcRect/>
          <a:stretch>
            <a:fillRect/>
          </a:stretch>
        </p:blipFill>
        <p:spPr bwMode="auto">
          <a:xfrm>
            <a:off x="11068540" y="5932488"/>
            <a:ext cx="345830" cy="266700"/>
          </a:xfrm>
          <a:prstGeom prst="rect">
            <a:avLst/>
          </a:prstGeom>
          <a:noFill/>
          <a:ln w="9525">
            <a:noFill/>
            <a:miter lim="800000"/>
            <a:headEnd/>
            <a:tailEnd/>
          </a:ln>
        </p:spPr>
      </p:pic>
      <p:pic>
        <p:nvPicPr>
          <p:cNvPr id="20" name="Image 22" descr="Picto_Slideshare.gif">
            <a:hlinkClick r:id="rId20"/>
          </p:cNvPr>
          <p:cNvPicPr preferRelativeResize="0"/>
          <p:nvPr>
            <p:custDataLst>
              <p:tags r:id="rId21"/>
            </p:custDataLst>
          </p:nvPr>
        </p:nvPicPr>
        <p:blipFill>
          <a:blip r:embed="rId22" cstate="email"/>
          <a:srcRect l="4793" t="6316" r="5718" b="7969"/>
          <a:stretch>
            <a:fillRect/>
          </a:stretch>
        </p:blipFill>
        <p:spPr>
          <a:xfrm>
            <a:off x="10293899" y="5932548"/>
            <a:ext cx="287215" cy="238125"/>
          </a:xfrm>
          <a:prstGeom prst="roundRect">
            <a:avLst/>
          </a:prstGeom>
          <a:effectLst>
            <a:outerShdw blurRad="38100" dist="25400" dir="5400000" sx="98000" sy="98000" algn="t" rotWithShape="0">
              <a:schemeClr val="tx2">
                <a:alpha val="51000"/>
              </a:schemeClr>
            </a:outerShdw>
          </a:effectLst>
        </p:spPr>
      </p:pic>
      <p:pic>
        <p:nvPicPr>
          <p:cNvPr id="13324" name="Image 12" descr="Capgemini_logo.jpg"/>
          <p:cNvPicPr>
            <a:picLocks noChangeAspect="1"/>
          </p:cNvPicPr>
          <p:nvPr userDrawn="1"/>
        </p:nvPicPr>
        <p:blipFill>
          <a:blip r:embed="rId23" cstate="print"/>
          <a:srcRect/>
          <a:stretch>
            <a:fillRect/>
          </a:stretch>
        </p:blipFill>
        <p:spPr bwMode="auto">
          <a:xfrm>
            <a:off x="920263" y="1014414"/>
            <a:ext cx="3544277"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anose="020B0604020202020204" pitchFamily="34" charset="0"/>
        </a:defRPr>
      </a:lvl2pPr>
      <a:lvl3pPr algn="ctr" defTabSz="838200" rtl="0" eaLnBrk="0" fontAlgn="base" hangingPunct="0">
        <a:spcBef>
          <a:spcPct val="0"/>
        </a:spcBef>
        <a:spcAft>
          <a:spcPct val="0"/>
        </a:spcAft>
        <a:defRPr sz="4000">
          <a:solidFill>
            <a:schemeClr val="tx1"/>
          </a:solidFill>
          <a:latin typeface="Arial" panose="020B0604020202020204" pitchFamily="34" charset="0"/>
        </a:defRPr>
      </a:lvl3pPr>
      <a:lvl4pPr algn="ctr" defTabSz="838200" rtl="0" eaLnBrk="0" fontAlgn="base" hangingPunct="0">
        <a:spcBef>
          <a:spcPct val="0"/>
        </a:spcBef>
        <a:spcAft>
          <a:spcPct val="0"/>
        </a:spcAft>
        <a:defRPr sz="4000">
          <a:solidFill>
            <a:schemeClr val="tx1"/>
          </a:solidFill>
          <a:latin typeface="Arial" panose="020B0604020202020204" pitchFamily="34" charset="0"/>
        </a:defRPr>
      </a:lvl4pPr>
      <a:lvl5pPr algn="ctr" defTabSz="838200" rtl="0" eaLnBrk="0" fontAlgn="base" hangingPunct="0">
        <a:spcBef>
          <a:spcPct val="0"/>
        </a:spcBef>
        <a:spcAft>
          <a:spcPct val="0"/>
        </a:spcAft>
        <a:defRPr sz="4000">
          <a:solidFill>
            <a:schemeClr val="tx1"/>
          </a:solidFill>
          <a:latin typeface="Arial" panose="020B0604020202020204" pitchFamily="34" charset="0"/>
        </a:defRPr>
      </a:lvl5pPr>
      <a:lvl6pPr marL="457200" algn="ctr" defTabSz="838200" rtl="0" fontAlgn="base">
        <a:spcBef>
          <a:spcPct val="0"/>
        </a:spcBef>
        <a:spcAft>
          <a:spcPct val="0"/>
        </a:spcAft>
        <a:defRPr sz="4000">
          <a:solidFill>
            <a:schemeClr val="tx1"/>
          </a:solidFill>
          <a:latin typeface="Arial" panose="020B0604020202020204" pitchFamily="34" charset="0"/>
        </a:defRPr>
      </a:lvl6pPr>
      <a:lvl7pPr marL="914400" algn="ctr" defTabSz="838200" rtl="0" fontAlgn="base">
        <a:spcBef>
          <a:spcPct val="0"/>
        </a:spcBef>
        <a:spcAft>
          <a:spcPct val="0"/>
        </a:spcAft>
        <a:defRPr sz="4000">
          <a:solidFill>
            <a:schemeClr val="tx1"/>
          </a:solidFill>
          <a:latin typeface="Arial" panose="020B0604020202020204" pitchFamily="34" charset="0"/>
        </a:defRPr>
      </a:lvl7pPr>
      <a:lvl8pPr marL="1371600" algn="ctr" defTabSz="838200" rtl="0" fontAlgn="base">
        <a:spcBef>
          <a:spcPct val="0"/>
        </a:spcBef>
        <a:spcAft>
          <a:spcPct val="0"/>
        </a:spcAft>
        <a:defRPr sz="4000">
          <a:solidFill>
            <a:schemeClr val="tx1"/>
          </a:solidFill>
          <a:latin typeface="Arial" panose="020B0604020202020204" pitchFamily="34" charset="0"/>
        </a:defRPr>
      </a:lvl8pPr>
      <a:lvl9pPr marL="1828800" algn="ctr" defTabSz="838200" rtl="0" fontAlgn="base">
        <a:spcBef>
          <a:spcPct val="0"/>
        </a:spcBef>
        <a:spcAft>
          <a:spcPct val="0"/>
        </a:spcAft>
        <a:defRPr sz="4000">
          <a:solidFill>
            <a:schemeClr val="tx1"/>
          </a:solidFill>
          <a:latin typeface="Arial" panose="020B0604020202020204" pitchFamily="34" charset="0"/>
        </a:defRPr>
      </a:lvl9pPr>
    </p:titleStyle>
    <p:bodyStyle>
      <a:lvl1pPr marL="314325" indent="-314325" algn="l" defTabSz="838200" rtl="0" eaLnBrk="0" fontAlgn="base" hangingPunct="0">
        <a:spcBef>
          <a:spcPct val="20000"/>
        </a:spcBef>
        <a:spcAft>
          <a:spcPct val="0"/>
        </a:spcAft>
        <a:buFont typeface="Arial" panose="020B0604020202020204" pitchFamily="34" charset="0"/>
        <a:buChar char="•"/>
        <a:defRPr sz="2900" kern="1200">
          <a:solidFill>
            <a:schemeClr val="tx1"/>
          </a:solidFill>
          <a:latin typeface="+mn-lt"/>
          <a:ea typeface="+mn-ea"/>
          <a:cs typeface="+mn-cs"/>
        </a:defRPr>
      </a:lvl1pPr>
      <a:lvl2pPr marL="681355" indent="-262255" algn="l" defTabSz="838200"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2pPr>
      <a:lvl3pPr marL="1049655" indent="-209550" algn="l" defTabSz="838200" rtl="0" eaLnBrk="0" fontAlgn="base" hangingPunct="0">
        <a:spcBef>
          <a:spcPct val="20000"/>
        </a:spcBef>
        <a:spcAft>
          <a:spcPct val="0"/>
        </a:spcAft>
        <a:buFont typeface="Arial" panose="020B0604020202020204" pitchFamily="34" charset="0"/>
        <a:buChar char="•"/>
        <a:defRPr sz="2200" kern="1200">
          <a:solidFill>
            <a:schemeClr val="tx1"/>
          </a:solidFill>
          <a:latin typeface="+mn-lt"/>
          <a:ea typeface="+mn-ea"/>
          <a:cs typeface="+mn-cs"/>
        </a:defRPr>
      </a:lvl3pPr>
      <a:lvl4pPr marL="1468755" indent="-209550" algn="l" defTabSz="8382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5pPr>
      <a:lvl6pPr marL="2308860" indent="-210185" algn="l" defTabSz="83947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729230" indent="-210185" algn="l" defTabSz="83947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148965" indent="-210185" algn="l" defTabSz="83947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568700" indent="-210185" algn="l" defTabSz="83947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839470" rtl="0" eaLnBrk="1" latinLnBrk="0" hangingPunct="1">
        <a:defRPr sz="1700" kern="1200">
          <a:solidFill>
            <a:schemeClr val="tx1"/>
          </a:solidFill>
          <a:latin typeface="+mn-lt"/>
          <a:ea typeface="+mn-ea"/>
          <a:cs typeface="+mn-cs"/>
        </a:defRPr>
      </a:lvl1pPr>
      <a:lvl2pPr marL="419735" algn="l" defTabSz="839470" rtl="0" eaLnBrk="1" latinLnBrk="0" hangingPunct="1">
        <a:defRPr sz="1700" kern="1200">
          <a:solidFill>
            <a:schemeClr val="tx1"/>
          </a:solidFill>
          <a:latin typeface="+mn-lt"/>
          <a:ea typeface="+mn-ea"/>
          <a:cs typeface="+mn-cs"/>
        </a:defRPr>
      </a:lvl2pPr>
      <a:lvl3pPr marL="839470" algn="l" defTabSz="839470" rtl="0" eaLnBrk="1" latinLnBrk="0" hangingPunct="1">
        <a:defRPr sz="1700" kern="1200">
          <a:solidFill>
            <a:schemeClr val="tx1"/>
          </a:solidFill>
          <a:latin typeface="+mn-lt"/>
          <a:ea typeface="+mn-ea"/>
          <a:cs typeface="+mn-cs"/>
        </a:defRPr>
      </a:lvl3pPr>
      <a:lvl4pPr marL="1259840" algn="l" defTabSz="839470" rtl="0" eaLnBrk="1" latinLnBrk="0" hangingPunct="1">
        <a:defRPr sz="1700" kern="1200">
          <a:solidFill>
            <a:schemeClr val="tx1"/>
          </a:solidFill>
          <a:latin typeface="+mn-lt"/>
          <a:ea typeface="+mn-ea"/>
          <a:cs typeface="+mn-cs"/>
        </a:defRPr>
      </a:lvl4pPr>
      <a:lvl5pPr marL="1679575" algn="l" defTabSz="839470" rtl="0" eaLnBrk="1" latinLnBrk="0" hangingPunct="1">
        <a:defRPr sz="1700" kern="1200">
          <a:solidFill>
            <a:schemeClr val="tx1"/>
          </a:solidFill>
          <a:latin typeface="+mn-lt"/>
          <a:ea typeface="+mn-ea"/>
          <a:cs typeface="+mn-cs"/>
        </a:defRPr>
      </a:lvl5pPr>
      <a:lvl6pPr marL="2099310" algn="l" defTabSz="839470" rtl="0" eaLnBrk="1" latinLnBrk="0" hangingPunct="1">
        <a:defRPr sz="1700" kern="1200">
          <a:solidFill>
            <a:schemeClr val="tx1"/>
          </a:solidFill>
          <a:latin typeface="+mn-lt"/>
          <a:ea typeface="+mn-ea"/>
          <a:cs typeface="+mn-cs"/>
        </a:defRPr>
      </a:lvl6pPr>
      <a:lvl7pPr marL="2519045" algn="l" defTabSz="839470" rtl="0" eaLnBrk="1" latinLnBrk="0" hangingPunct="1">
        <a:defRPr sz="1700" kern="1200">
          <a:solidFill>
            <a:schemeClr val="tx1"/>
          </a:solidFill>
          <a:latin typeface="+mn-lt"/>
          <a:ea typeface="+mn-ea"/>
          <a:cs typeface="+mn-cs"/>
        </a:defRPr>
      </a:lvl7pPr>
      <a:lvl8pPr marL="2938780" algn="l" defTabSz="839470" rtl="0" eaLnBrk="1" latinLnBrk="0" hangingPunct="1">
        <a:defRPr sz="1700" kern="1200">
          <a:solidFill>
            <a:schemeClr val="tx1"/>
          </a:solidFill>
          <a:latin typeface="+mn-lt"/>
          <a:ea typeface="+mn-ea"/>
          <a:cs typeface="+mn-cs"/>
        </a:defRPr>
      </a:lvl8pPr>
      <a:lvl9pPr marL="3358515" algn="l" defTabSz="83947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7.png"/><Relationship Id="rId1" Type="http://schemas.openxmlformats.org/officeDocument/2006/relationships/image" Target="../media/image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duotone>
              <a:schemeClr val="bg1">
                <a:shade val="80000"/>
                <a:lumMod val="80000"/>
              </a:schemeClr>
              <a:schemeClr val="bg1">
                <a:tint val="98000"/>
              </a:schemeClr>
            </a:duotone>
          </a:blip>
          <a:stretch>
            <a:fillRect/>
          </a:stretch>
        </a:blip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8900" y="57785"/>
            <a:ext cx="12103100" cy="6550660"/>
          </a:xfrm>
          <a:prstGeom prst="rect">
            <a:avLst/>
          </a:prstGeom>
        </p:spPr>
      </p:pic>
      <p:sp useBgFill="1">
        <p:nvSpPr>
          <p:cNvPr id="96" name="Freeform 5"/>
          <p:cNvSpPr>
            <a:spLocks noGrp="1" noRot="1" noChangeAspect="1" noMove="1" noResize="1" noEditPoints="1" noAdjustHandles="1" noChangeArrowheads="1" noChangeShapeType="1" noTextEdit="1"/>
          </p:cNvSpPr>
          <p:nvPr/>
        </p:nvSpPr>
        <p:spPr bwMode="auto">
          <a:xfrm rot="5400000">
            <a:off x="2968625" y="955040"/>
            <a:ext cx="2324100" cy="6934835"/>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p:cNvSpPr>
            <a:spLocks noGrp="1"/>
          </p:cNvSpPr>
          <p:nvPr>
            <p:ph type="ctrTitle"/>
          </p:nvPr>
        </p:nvSpPr>
        <p:spPr>
          <a:xfrm>
            <a:off x="789940" y="3369945"/>
            <a:ext cx="6536055" cy="1339215"/>
          </a:xfrm>
        </p:spPr>
        <p:txBody>
          <a:bodyPr>
            <a:normAutofit fontScale="90000"/>
          </a:bodyPr>
          <a:lstStyle/>
          <a:p>
            <a:pPr algn="l"/>
            <a:r>
              <a:rPr lang="en-US" sz="4000" dirty="0"/>
              <a:t>Machine Learning -</a:t>
            </a:r>
            <a:br>
              <a:rPr lang="en-US" sz="4000" dirty="0"/>
            </a:br>
            <a:r>
              <a:rPr lang="en-US" sz="3555" dirty="0"/>
              <a:t>Power that is beyond imagination</a:t>
            </a:r>
            <a:endParaRPr lang="en-US" sz="3555" dirty="0"/>
          </a:p>
        </p:txBody>
      </p:sp>
      <p:sp>
        <p:nvSpPr>
          <p:cNvPr id="3" name="Subtitle 2"/>
          <p:cNvSpPr>
            <a:spLocks noGrp="1"/>
          </p:cNvSpPr>
          <p:nvPr>
            <p:ph type="subTitle" idx="1"/>
          </p:nvPr>
        </p:nvSpPr>
        <p:spPr>
          <a:xfrm>
            <a:off x="3777615" y="4852670"/>
            <a:ext cx="3484880" cy="680085"/>
          </a:xfrm>
        </p:spPr>
        <p:txBody>
          <a:bodyPr>
            <a:normAutofit/>
          </a:bodyPr>
          <a:lstStyle/>
          <a:p>
            <a:pPr algn="l"/>
            <a:r>
              <a:rPr lang="en-US" sz="2300" dirty="0">
                <a:solidFill>
                  <a:srgbClr val="5792BA"/>
                </a:solidFill>
              </a:rPr>
              <a:t>Supraja Rapuru</a:t>
            </a:r>
            <a:endParaRPr lang="en-US" sz="2300" dirty="0">
              <a:solidFill>
                <a:srgbClr val="5792BA"/>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endParaRPr lang="en-US" dirty="0"/>
          </a:p>
        </p:txBody>
      </p:sp>
      <p:sp>
        <p:nvSpPr>
          <p:cNvPr id="3" name="Content Placeholder 2"/>
          <p:cNvSpPr>
            <a:spLocks noGrp="1"/>
          </p:cNvSpPr>
          <p:nvPr>
            <p:ph sz="quarter" idx="10"/>
          </p:nvPr>
        </p:nvSpPr>
        <p:spPr>
          <a:xfrm>
            <a:off x="4014470" y="1623695"/>
            <a:ext cx="4662805" cy="3426460"/>
          </a:xfrm>
        </p:spPr>
        <p:txBody>
          <a:bodyPr/>
          <a:lstStyle/>
          <a:p>
            <a:pPr algn="just"/>
            <a:r>
              <a:rPr lang="en-US" sz="2400" dirty="0"/>
              <a:t>What is Machine learning?</a:t>
            </a:r>
            <a:endParaRPr lang="en-US" sz="2400" dirty="0"/>
          </a:p>
          <a:p>
            <a:pPr algn="just"/>
            <a:r>
              <a:rPr lang="en-US" sz="2400" dirty="0"/>
              <a:t>Why it is important?</a:t>
            </a:r>
            <a:endParaRPr lang="en-US" sz="2400" dirty="0"/>
          </a:p>
          <a:p>
            <a:pPr algn="just"/>
            <a:r>
              <a:rPr lang="en-US" sz="2400" dirty="0"/>
              <a:t>How does it work?</a:t>
            </a:r>
            <a:endParaRPr lang="en-US" sz="2400" dirty="0"/>
          </a:p>
          <a:p>
            <a:pPr algn="just"/>
            <a:r>
              <a:rPr lang="en-US" sz="2400" dirty="0"/>
              <a:t>Types of Machine Learning?</a:t>
            </a:r>
            <a:endParaRPr lang="en-US" sz="2400" dirty="0"/>
          </a:p>
          <a:p>
            <a:pPr algn="just"/>
            <a:r>
              <a:rPr lang="en-US" sz="2400" dirty="0"/>
              <a:t>Business Applications</a:t>
            </a:r>
            <a:endParaRPr lang="en-US" sz="2400" dirty="0"/>
          </a:p>
          <a:p>
            <a:pPr algn="just"/>
            <a:r>
              <a:rPr lang="en-US" sz="2400" dirty="0"/>
              <a:t>Advantages &amp; Disadvantages </a:t>
            </a:r>
            <a:endParaRPr lang="en-US" sz="2400" dirty="0"/>
          </a:p>
          <a:p>
            <a:pPr algn="just"/>
            <a:r>
              <a:rPr lang="en-US" sz="2400" dirty="0"/>
              <a:t>Ethical Challenges</a:t>
            </a:r>
            <a:endParaRPr lang="en-US" sz="2400" dirty="0"/>
          </a:p>
          <a:p>
            <a:pPr marL="0" indent="0" algn="just">
              <a:buNone/>
            </a:pPr>
            <a:endParaRPr lang="en-US" sz="2400" dirty="0"/>
          </a:p>
          <a:p>
            <a:pPr marL="0" indent="0" algn="just">
              <a:buNone/>
            </a:pPr>
            <a:endParaRPr lang="en-US" sz="1600" dirty="0"/>
          </a:p>
          <a:p>
            <a:pPr lvl="1">
              <a:buNone/>
            </a:pPr>
            <a:endParaRPr lang="en-US" sz="1600" dirty="0"/>
          </a:p>
          <a:p>
            <a:pPr lvl="1">
              <a:buNone/>
            </a:pPr>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What is Machine Learning?</a:t>
            </a:r>
            <a:endParaRPr lang="en-US" sz="2400" dirty="0"/>
          </a:p>
        </p:txBody>
      </p:sp>
      <p:sp>
        <p:nvSpPr>
          <p:cNvPr id="70" name="AutoShape 18"/>
          <p:cNvSpPr>
            <a:spLocks noChangeArrowheads="1"/>
          </p:cNvSpPr>
          <p:nvPr/>
        </p:nvSpPr>
        <p:spPr bwMode="blackWhite">
          <a:xfrm>
            <a:off x="532765" y="1224903"/>
            <a:ext cx="10421620" cy="1379244"/>
          </a:xfrm>
          <a:prstGeom prst="roundRect">
            <a:avLst>
              <a:gd name="adj" fmla="val 29565"/>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anchor="ctr">
            <a:spAutoFit/>
          </a:bodyPr>
          <a:lstStyle/>
          <a:p>
            <a:pPr indent="0" eaLnBrk="0" hangingPunct="0">
              <a:spcBef>
                <a:spcPct val="50000"/>
              </a:spcBef>
              <a:buFontTx/>
              <a:buNone/>
              <a:defRPr/>
            </a:pPr>
            <a:r>
              <a:rPr lang="en-US" kern="0" dirty="0">
                <a:solidFill>
                  <a:srgbClr val="000000"/>
                </a:solidFill>
                <a:cs typeface="Arial" panose="020B0604020202020204" pitchFamily="34" charset="0"/>
              </a:rPr>
              <a:t>Machine learning is a sub field of artificial intelligence, which is broadly defined as the capability of a machine to imitate intelligent human behavior without being explicitly programmed. With “normal” software, we tell the computer what to do. With machine learning, we tell the computer how to figure out the answer itself, using the data we feed it.</a:t>
            </a:r>
            <a:endParaRPr lang="en-US" kern="0" dirty="0">
              <a:solidFill>
                <a:srgbClr val="000000"/>
              </a:solidFill>
              <a:cs typeface="Arial" panose="020B0604020202020204" pitchFamily="34" charset="0"/>
            </a:endParaRPr>
          </a:p>
        </p:txBody>
      </p:sp>
      <p:pic>
        <p:nvPicPr>
          <p:cNvPr id="5" name="Content Placeholder 4"/>
          <p:cNvPicPr>
            <a:picLocks noChangeAspect="1"/>
          </p:cNvPicPr>
          <p:nvPr>
            <p:ph idx="1"/>
          </p:nvPr>
        </p:nvPicPr>
        <p:blipFill>
          <a:blip r:embed="rId1"/>
          <a:stretch>
            <a:fillRect/>
          </a:stretch>
        </p:blipFill>
        <p:spPr>
          <a:xfrm>
            <a:off x="1672590" y="2769870"/>
            <a:ext cx="7499350" cy="341630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hy it is important?</a:t>
            </a:r>
            <a:endParaRPr lang="en-US" sz="2400" b="1" dirty="0"/>
          </a:p>
        </p:txBody>
      </p:sp>
      <p:sp>
        <p:nvSpPr>
          <p:cNvPr id="5" name="TextBox 4"/>
          <p:cNvSpPr/>
          <p:nvPr/>
        </p:nvSpPr>
        <p:spPr bwMode="blackWhite">
          <a:xfrm>
            <a:off x="606425" y="1962468"/>
            <a:ext cx="10417175" cy="2389505"/>
          </a:xfrm>
          <a:prstGeom prst="rect">
            <a:avLst/>
          </a:prstGeom>
        </p:spPr>
        <p:style>
          <a:lnRef idx="2">
            <a:schemeClr val="accent5"/>
          </a:lnRef>
          <a:fillRef idx="1">
            <a:schemeClr val="lt1"/>
          </a:fillRef>
          <a:effectRef idx="0">
            <a:schemeClr val="accent5"/>
          </a:effectRef>
          <a:fontRef idx="minor">
            <a:schemeClr val="dk1"/>
          </a:fontRef>
        </p:style>
        <p:txBody>
          <a:bodyPr wrap="square" lIns="45720" tIns="18288" rIns="45720" bIns="18288" rtlCol="0" anchor="ctr">
            <a:spAutoFit/>
          </a:bodyPr>
          <a:lstStyle/>
          <a:p>
            <a:pPr marL="285750" lvl="0" indent="-285750" algn="l"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With an exponential increase in data, there is a need for having a system that can handle this massive load of data.</a:t>
            </a:r>
            <a:endParaRPr lang="en-US" kern="0" dirty="0">
              <a:solidFill>
                <a:srgbClr val="000000"/>
              </a:solidFill>
              <a:cs typeface="Arial" panose="020B0604020202020204" pitchFamily="34" charset="0"/>
              <a:sym typeface="+mn-ea"/>
            </a:endParaRPr>
          </a:p>
          <a:p>
            <a:pPr marL="285750" lvl="0" indent="-285750" algn="l"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Some tasks can not be defined well except by examples (Image processing, Facial recognition etc)</a:t>
            </a:r>
            <a:endParaRPr lang="en-US" kern="0" dirty="0">
              <a:solidFill>
                <a:srgbClr val="000000"/>
              </a:solidFill>
              <a:cs typeface="Arial" panose="020B0604020202020204" pitchFamily="34" charset="0"/>
              <a:sym typeface="+mn-ea"/>
            </a:endParaRPr>
          </a:p>
          <a:p>
            <a:pPr marL="285750" lvl="0" indent="-285750" algn="l"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The amount of knowledge available for certain tasks might be too large for explicit encoding by humans (</a:t>
            </a:r>
            <a:r>
              <a:rPr lang="en-US" kern="0" dirty="0">
                <a:solidFill>
                  <a:srgbClr val="000000"/>
                </a:solidFill>
                <a:cs typeface="Arial" panose="020B0604020202020204" pitchFamily="34" charset="0"/>
                <a:sym typeface="+mn-ea"/>
              </a:rPr>
              <a:t>Medical</a:t>
            </a:r>
            <a:r>
              <a:rPr lang="en-US" kern="0" dirty="0">
                <a:solidFill>
                  <a:srgbClr val="000000"/>
                </a:solidFill>
                <a:cs typeface="Arial" panose="020B0604020202020204" pitchFamily="34" charset="0"/>
                <a:sym typeface="+mn-ea"/>
              </a:rPr>
              <a:t>, </a:t>
            </a:r>
            <a:r>
              <a:rPr lang="en-US" kern="0" dirty="0">
                <a:solidFill>
                  <a:srgbClr val="000000"/>
                </a:solidFill>
                <a:cs typeface="Arial" panose="020B0604020202020204" pitchFamily="34" charset="0"/>
                <a:sym typeface="+mn-ea"/>
              </a:rPr>
              <a:t>diagnostic</a:t>
            </a:r>
            <a:r>
              <a:rPr lang="en-US" kern="0" dirty="0">
                <a:solidFill>
                  <a:srgbClr val="000000"/>
                </a:solidFill>
                <a:cs typeface="Arial" panose="020B0604020202020204" pitchFamily="34" charset="0"/>
                <a:sym typeface="+mn-ea"/>
              </a:rPr>
              <a:t> etc)</a:t>
            </a:r>
            <a:endParaRPr lang="en-US" kern="0" dirty="0">
              <a:solidFill>
                <a:srgbClr val="000000"/>
              </a:solidFill>
              <a:cs typeface="Arial" panose="020B0604020202020204" pitchFamily="34" charset="0"/>
              <a:sym typeface="+mn-ea"/>
            </a:endParaRPr>
          </a:p>
          <a:p>
            <a:pPr marL="285750" lvl="0" indent="-285750" algn="l"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New knowledge about tasks is constantly being discovered by humans. It may be difficult to continuously re-design systems by hand.</a:t>
            </a:r>
            <a:endParaRPr lang="en-US" kern="0" dirty="0">
              <a:solidFill>
                <a:srgbClr val="000000"/>
              </a:solidFill>
              <a:cs typeface="Arial" panose="020B0604020202020204" pitchFamily="34" charset="0"/>
              <a:sym typeface="+mn-ea"/>
            </a:endParaRPr>
          </a:p>
        </p:txBody>
      </p:sp>
      <p:sp>
        <p:nvSpPr>
          <p:cNvPr id="6" name="TextBox 5"/>
          <p:cNvSpPr txBox="1"/>
          <p:nvPr/>
        </p:nvSpPr>
        <p:spPr>
          <a:xfrm>
            <a:off x="606392" y="6158742"/>
            <a:ext cx="1031805" cy="215444"/>
          </a:xfrm>
          <a:prstGeom prst="rect">
            <a:avLst/>
          </a:prstGeom>
          <a:noFill/>
        </p:spPr>
        <p:txBody>
          <a:bodyPr wrap="square" rtlCol="0">
            <a:spAutoFit/>
          </a:bodyPr>
          <a:lstStyle/>
          <a:p>
            <a:r>
              <a:rPr lang="en-US" sz="800" dirty="0">
                <a:solidFill>
                  <a:schemeClr val="tx2">
                    <a:lumMod val="50000"/>
                  </a:schemeClr>
                </a:solidFill>
              </a:rPr>
              <a:t>Source: KPMG</a:t>
            </a:r>
            <a:endParaRPr lang="en-US" sz="800" dirty="0">
              <a:solidFill>
                <a:schemeClr val="tx2">
                  <a:lumMod val="50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How does it work?</a:t>
            </a:r>
            <a:endParaRPr lang="en-US" sz="2400" b="1" dirty="0"/>
          </a:p>
        </p:txBody>
      </p:sp>
      <p:pic>
        <p:nvPicPr>
          <p:cNvPr id="3" name="Content Placeholder 2"/>
          <p:cNvPicPr>
            <a:picLocks noChangeAspect="1"/>
          </p:cNvPicPr>
          <p:nvPr>
            <p:ph idx="1"/>
          </p:nvPr>
        </p:nvPicPr>
        <p:blipFill>
          <a:blip r:embed="rId1"/>
          <a:stretch>
            <a:fillRect/>
          </a:stretch>
        </p:blipFill>
        <p:spPr>
          <a:xfrm>
            <a:off x="2413000" y="3701415"/>
            <a:ext cx="7165975" cy="2089150"/>
          </a:xfrm>
          <a:prstGeom prst="rect">
            <a:avLst/>
          </a:prstGeom>
        </p:spPr>
      </p:pic>
      <p:sp>
        <p:nvSpPr>
          <p:cNvPr id="4" name="Rectangles 3"/>
          <p:cNvSpPr/>
          <p:nvPr/>
        </p:nvSpPr>
        <p:spPr bwMode="blackWhite">
          <a:xfrm>
            <a:off x="603885" y="1539240"/>
            <a:ext cx="10719435" cy="1697355"/>
          </a:xfrm>
          <a:prstGeom prst="rect">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rtlCol="0" anchor="ctr">
            <a:spAutoFit/>
          </a:bodyPr>
          <a:lstStyle/>
          <a:p>
            <a:pPr lvl="0" algn="l" eaLnBrk="0" hangingPunct="0">
              <a:spcBef>
                <a:spcPct val="50000"/>
              </a:spcBef>
              <a:buClrTx/>
              <a:buSzTx/>
              <a:buFontTx/>
              <a:defRPr/>
            </a:pPr>
            <a:r>
              <a:rPr lang="en-US" kern="0" dirty="0">
                <a:solidFill>
                  <a:srgbClr val="000000"/>
                </a:solidFill>
                <a:cs typeface="Arial" panose="020B0604020202020204" pitchFamily="34" charset="0"/>
                <a:sym typeface="+mn-ea"/>
              </a:rPr>
              <a:t>These machine learning algorithms use the patterns contained in the training data to perform </a:t>
            </a:r>
            <a:r>
              <a:rPr lang="en-US" kern="0" dirty="0">
                <a:solidFill>
                  <a:srgbClr val="000000"/>
                </a:solidFill>
                <a:cs typeface="Arial" panose="020B0604020202020204" pitchFamily="34" charset="0"/>
                <a:sym typeface="+mn-ea"/>
              </a:rPr>
              <a:t>c</a:t>
            </a:r>
            <a:r>
              <a:rPr lang="en-US" kern="0" dirty="0">
                <a:solidFill>
                  <a:srgbClr val="000000"/>
                </a:solidFill>
                <a:cs typeface="Arial" panose="020B0604020202020204" pitchFamily="34" charset="0"/>
                <a:sym typeface="+mn-ea"/>
              </a:rPr>
              <a:t>lassification and future predictions. Whenever any new input is introduced to the ML model, it applies its learned patterns over the new data to make future predictions.</a:t>
            </a:r>
            <a:endParaRPr lang="en-US" kern="0" dirty="0">
              <a:solidFill>
                <a:srgbClr val="000000"/>
              </a:solidFill>
              <a:cs typeface="Arial" panose="020B0604020202020204" pitchFamily="34" charset="0"/>
              <a:sym typeface="+mn-ea"/>
            </a:endParaRPr>
          </a:p>
          <a:p>
            <a:pPr lvl="0" algn="l" eaLnBrk="0" hangingPunct="0">
              <a:spcBef>
                <a:spcPct val="50000"/>
              </a:spcBef>
              <a:buClrTx/>
              <a:buSzTx/>
              <a:buFontTx/>
              <a:defRPr/>
            </a:pPr>
            <a:r>
              <a:rPr lang="en-US" kern="0" dirty="0">
                <a:solidFill>
                  <a:srgbClr val="000000"/>
                </a:solidFill>
                <a:cs typeface="Arial" panose="020B0604020202020204" pitchFamily="34" charset="0"/>
                <a:sym typeface="+mn-ea"/>
              </a:rPr>
              <a:t>Based on the final accuracy, one can optimize their models using various standardized approaches.</a:t>
            </a:r>
            <a:endParaRPr lang="en-US" kern="0" dirty="0">
              <a:solidFill>
                <a:srgbClr val="000000"/>
              </a:solidFill>
              <a:cs typeface="Arial" panose="020B0604020202020204" pitchFamily="34" charset="0"/>
              <a:sym typeface="+mn-ea"/>
            </a:endParaRPr>
          </a:p>
          <a:p>
            <a:pPr lvl="0" algn="l" eaLnBrk="0" hangingPunct="0">
              <a:spcBef>
                <a:spcPct val="50000"/>
              </a:spcBef>
              <a:buClrTx/>
              <a:buSzTx/>
              <a:buFontTx/>
              <a:defRPr/>
            </a:pPr>
            <a:r>
              <a:rPr lang="en-US" kern="0" dirty="0">
                <a:solidFill>
                  <a:srgbClr val="000000"/>
                </a:solidFill>
                <a:cs typeface="Arial" panose="020B0604020202020204" pitchFamily="34" charset="0"/>
                <a:sym typeface="+mn-ea"/>
              </a:rPr>
              <a:t>In this way, Machine Learning model learns to adapt to new examples and produce better results.</a:t>
            </a:r>
            <a:endParaRPr lang="en-US" kern="0" dirty="0">
              <a:solidFill>
                <a:srgbClr val="000000"/>
              </a:solidFill>
              <a:cs typeface="Arial" panose="020B0604020202020204" pitchFamily="34" charset="0"/>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Types of Machine Learning?</a:t>
            </a:r>
            <a:endParaRPr lang="en-US" sz="2400" b="1" dirty="0"/>
          </a:p>
        </p:txBody>
      </p:sp>
      <p:sp>
        <p:nvSpPr>
          <p:cNvPr id="4" name="Rectangles 3"/>
          <p:cNvSpPr/>
          <p:nvPr/>
        </p:nvSpPr>
        <p:spPr bwMode="blackWhite">
          <a:xfrm>
            <a:off x="6180455" y="1786890"/>
            <a:ext cx="5456555" cy="3728720"/>
          </a:xfrm>
          <a:prstGeom prst="rect">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rtlCol="0" anchor="ctr">
            <a:spAutoFit/>
          </a:bodyPr>
          <a:lstStyle/>
          <a:p>
            <a:pPr lvl="0" algn="l" eaLnBrk="0" hangingPunct="0">
              <a:spcBef>
                <a:spcPct val="50000"/>
              </a:spcBef>
              <a:buClrTx/>
              <a:buSzTx/>
              <a:buFontTx/>
              <a:defRPr/>
            </a:pPr>
            <a:r>
              <a:rPr lang="en-US" sz="1600" b="1" kern="0" dirty="0">
                <a:solidFill>
                  <a:srgbClr val="000000"/>
                </a:solidFill>
                <a:cs typeface="Arial" panose="020B0604020202020204" pitchFamily="34" charset="0"/>
                <a:sym typeface="+mn-ea"/>
              </a:rPr>
              <a:t>Supervised learning</a:t>
            </a:r>
            <a:r>
              <a:rPr lang="en-US" sz="1600" kern="0" dirty="0">
                <a:solidFill>
                  <a:srgbClr val="000000"/>
                </a:solidFill>
                <a:cs typeface="Arial" panose="020B0604020202020204" pitchFamily="34" charset="0"/>
                <a:sym typeface="+mn-ea"/>
              </a:rPr>
              <a:t> is the most hands-on approach to machine learning. You give a program a datasets that has a bunch of values and the expected result you get from those values. It’s data to train the algorithm.</a:t>
            </a:r>
            <a:endParaRPr lang="en-US" sz="1600" kern="0" dirty="0">
              <a:solidFill>
                <a:srgbClr val="000000"/>
              </a:solidFill>
              <a:cs typeface="Arial" panose="020B0604020202020204" pitchFamily="34" charset="0"/>
              <a:sym typeface="+mn-ea"/>
            </a:endParaRPr>
          </a:p>
          <a:p>
            <a:pPr lvl="0" algn="l" eaLnBrk="0" hangingPunct="0">
              <a:spcBef>
                <a:spcPct val="50000"/>
              </a:spcBef>
              <a:buClrTx/>
              <a:buSzTx/>
              <a:buFontTx/>
              <a:defRPr/>
            </a:pPr>
            <a:r>
              <a:rPr lang="en-US" sz="1600" b="1" kern="0" dirty="0">
                <a:solidFill>
                  <a:srgbClr val="000000"/>
                </a:solidFill>
                <a:cs typeface="Arial" panose="020B0604020202020204" pitchFamily="34" charset="0"/>
                <a:sym typeface="+mn-ea"/>
              </a:rPr>
              <a:t>Unsupervised learning</a:t>
            </a:r>
            <a:r>
              <a:rPr lang="en-US" sz="1600" kern="0" dirty="0">
                <a:solidFill>
                  <a:srgbClr val="000000"/>
                </a:solidFill>
                <a:cs typeface="Arial" panose="020B0604020202020204" pitchFamily="34" charset="0"/>
                <a:sym typeface="+mn-ea"/>
              </a:rPr>
              <a:t> is more hands-off. You give the program a datasets, but no instructions on what the datasets means. You’re not defining any kind of outcome for the algorithm. Instead, it needs to figure out the patterns (if there are any) for itself.</a:t>
            </a:r>
            <a:endParaRPr lang="en-US" sz="1600" kern="0" dirty="0">
              <a:solidFill>
                <a:srgbClr val="000000"/>
              </a:solidFill>
              <a:cs typeface="Arial" panose="020B0604020202020204" pitchFamily="34" charset="0"/>
              <a:sym typeface="+mn-ea"/>
            </a:endParaRPr>
          </a:p>
          <a:p>
            <a:pPr lvl="0" algn="l" eaLnBrk="0" hangingPunct="0">
              <a:spcBef>
                <a:spcPct val="50000"/>
              </a:spcBef>
              <a:buClrTx/>
              <a:buSzTx/>
              <a:buFontTx/>
              <a:defRPr/>
            </a:pPr>
            <a:r>
              <a:rPr lang="en-US" sz="1600" kern="0" dirty="0">
                <a:solidFill>
                  <a:srgbClr val="000000"/>
                </a:solidFill>
                <a:cs typeface="Arial" panose="020B0604020202020204" pitchFamily="34" charset="0"/>
                <a:sym typeface="+mn-ea"/>
              </a:rPr>
              <a:t>Humans learn from trial and error. </a:t>
            </a:r>
            <a:r>
              <a:rPr lang="en-US" sz="1600" b="1" kern="0" dirty="0">
                <a:solidFill>
                  <a:srgbClr val="000000"/>
                </a:solidFill>
                <a:cs typeface="Arial" panose="020B0604020202020204" pitchFamily="34" charset="0"/>
                <a:sym typeface="+mn-ea"/>
              </a:rPr>
              <a:t>Reinforcement machine learning</a:t>
            </a:r>
            <a:r>
              <a:rPr lang="en-US" sz="1600" kern="0" dirty="0">
                <a:solidFill>
                  <a:srgbClr val="000000"/>
                </a:solidFill>
                <a:cs typeface="Arial" panose="020B0604020202020204" pitchFamily="34" charset="0"/>
                <a:sym typeface="+mn-ea"/>
              </a:rPr>
              <a:t> works in much the same way. A program is given data and the ability to test different events with different outcomes. It then stores those outcomes and tries to optimize itself to get the best result possible.</a:t>
            </a:r>
            <a:endParaRPr lang="en-US" sz="1600" kern="0" dirty="0">
              <a:solidFill>
                <a:srgbClr val="000000"/>
              </a:solidFill>
              <a:cs typeface="Arial" panose="020B0604020202020204" pitchFamily="34" charset="0"/>
              <a:sym typeface="+mn-ea"/>
            </a:endParaRPr>
          </a:p>
        </p:txBody>
      </p:sp>
      <p:pic>
        <p:nvPicPr>
          <p:cNvPr id="6" name="Content Placeholder 5"/>
          <p:cNvPicPr>
            <a:picLocks noChangeAspect="1"/>
          </p:cNvPicPr>
          <p:nvPr>
            <p:ph idx="1"/>
          </p:nvPr>
        </p:nvPicPr>
        <p:blipFill>
          <a:blip r:embed="rId1"/>
          <a:stretch>
            <a:fillRect/>
          </a:stretch>
        </p:blipFill>
        <p:spPr>
          <a:xfrm>
            <a:off x="403225" y="1774825"/>
            <a:ext cx="5612765" cy="375348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Business Applications</a:t>
            </a:r>
            <a:endParaRPr lang="en-US" sz="2400" b="1" dirty="0"/>
          </a:p>
        </p:txBody>
      </p:sp>
      <p:pic>
        <p:nvPicPr>
          <p:cNvPr id="7" name="Picture 6"/>
          <p:cNvPicPr>
            <a:picLocks noChangeAspect="1"/>
          </p:cNvPicPr>
          <p:nvPr/>
        </p:nvPicPr>
        <p:blipFill>
          <a:blip r:embed="rId1"/>
          <a:stretch>
            <a:fillRect/>
          </a:stretch>
        </p:blipFill>
        <p:spPr>
          <a:xfrm>
            <a:off x="347345" y="1647825"/>
            <a:ext cx="6387465" cy="3887470"/>
          </a:xfrm>
          <a:prstGeom prst="rect">
            <a:avLst/>
          </a:prstGeom>
        </p:spPr>
      </p:pic>
      <p:sp>
        <p:nvSpPr>
          <p:cNvPr id="9" name="Rectangles 8"/>
          <p:cNvSpPr/>
          <p:nvPr/>
        </p:nvSpPr>
        <p:spPr bwMode="blackWhite">
          <a:xfrm>
            <a:off x="7002145" y="1506855"/>
            <a:ext cx="4545965" cy="1512570"/>
          </a:xfrm>
          <a:prstGeom prst="rect">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rtlCol="0" anchor="ctr">
            <a:spAutoFit/>
          </a:bodyPr>
          <a:lstStyle/>
          <a:p>
            <a:pPr lvl="0" algn="just" eaLnBrk="0" hangingPunct="0">
              <a:spcBef>
                <a:spcPct val="50000"/>
              </a:spcBef>
              <a:buClrTx/>
              <a:buSzTx/>
              <a:buFontTx/>
              <a:defRPr/>
            </a:pPr>
            <a:r>
              <a:rPr lang="en-US" sz="1600" b="1" kern="0" dirty="0">
                <a:solidFill>
                  <a:srgbClr val="000000"/>
                </a:solidFill>
                <a:cs typeface="Arial" panose="020B0604020202020204" pitchFamily="34" charset="0"/>
                <a:sym typeface="+mn-ea"/>
              </a:rPr>
              <a:t>Medical Sector </a:t>
            </a:r>
            <a:r>
              <a:rPr lang="en-US" sz="1600" kern="0" dirty="0">
                <a:solidFill>
                  <a:srgbClr val="000000"/>
                </a:solidFill>
                <a:cs typeface="Arial" panose="020B0604020202020204" pitchFamily="34" charset="0"/>
                <a:sym typeface="+mn-ea"/>
              </a:rPr>
              <a:t>- ML helps in predictions and analysis and classification. In classification, it classifies the disease is normal or dangerous. Cancer predictions use both ML and Deep Learning. Heart monitoring, retinal scan, etc. is also possible using ML.</a:t>
            </a:r>
            <a:endParaRPr lang="en-US" sz="1600" kern="0" dirty="0">
              <a:solidFill>
                <a:srgbClr val="000000"/>
              </a:solidFill>
              <a:cs typeface="Arial" panose="020B0604020202020204" pitchFamily="34" charset="0"/>
              <a:sym typeface="+mn-ea"/>
            </a:endParaRPr>
          </a:p>
        </p:txBody>
      </p:sp>
      <p:sp>
        <p:nvSpPr>
          <p:cNvPr id="10" name="Rectangles 9"/>
          <p:cNvSpPr/>
          <p:nvPr/>
        </p:nvSpPr>
        <p:spPr bwMode="blackWhite">
          <a:xfrm>
            <a:off x="6959600" y="3529965"/>
            <a:ext cx="4629150" cy="2005330"/>
          </a:xfrm>
          <a:prstGeom prst="rect">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rtlCol="0" anchor="ctr">
            <a:spAutoFit/>
          </a:bodyPr>
          <a:p>
            <a:pPr lvl="0" algn="just" eaLnBrk="0" hangingPunct="0">
              <a:spcBef>
                <a:spcPct val="50000"/>
              </a:spcBef>
              <a:buClrTx/>
              <a:buSzTx/>
              <a:buFontTx/>
              <a:defRPr/>
            </a:pPr>
            <a:r>
              <a:rPr lang="en-US" sz="1600" b="1" kern="0" dirty="0">
                <a:solidFill>
                  <a:srgbClr val="000000"/>
                </a:solidFill>
                <a:cs typeface="Arial" panose="020B0604020202020204" pitchFamily="34" charset="0"/>
                <a:sym typeface="+mn-ea"/>
              </a:rPr>
              <a:t>Speech Recognition</a:t>
            </a:r>
            <a:r>
              <a:rPr lang="en-US" sz="1600" kern="0" dirty="0">
                <a:solidFill>
                  <a:srgbClr val="000000"/>
                </a:solidFill>
                <a:cs typeface="Arial" panose="020B0604020202020204" pitchFamily="34" charset="0"/>
                <a:sym typeface="+mn-ea"/>
              </a:rPr>
              <a:t>: The sound model processes the sounds it hears and filters out words. The linguistic model tries to match the sound of the word with similar words. This helps to distinguish between similar-sounding words. Our mobile phones use speech recognition as well. Alexa, Siri, Google Home etc are driven by ML algorithms.</a:t>
            </a:r>
            <a:endParaRPr lang="en-US" sz="1600" kern="0" dirty="0">
              <a:solidFill>
                <a:srgbClr val="000000"/>
              </a:solidFill>
              <a:cs typeface="Arial" panose="020B0604020202020204" pitchFamily="34" charset="0"/>
              <a:sym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Advantages &amp; Disadvantages</a:t>
            </a:r>
            <a:endParaRPr lang="en-US" sz="2400" b="1" dirty="0"/>
          </a:p>
        </p:txBody>
      </p:sp>
      <p:graphicFrame>
        <p:nvGraphicFramePr>
          <p:cNvPr id="3" name="Table 2"/>
          <p:cNvGraphicFramePr/>
          <p:nvPr/>
        </p:nvGraphicFramePr>
        <p:xfrm>
          <a:off x="549275" y="1457325"/>
          <a:ext cx="11246485" cy="4145280"/>
        </p:xfrm>
        <a:graphic>
          <a:graphicData uri="http://schemas.openxmlformats.org/drawingml/2006/table">
            <a:tbl>
              <a:tblPr firstRow="1">
                <a:tableStyleId>{35758FB7-9AC5-4552-8A53-C91805E547FA}</a:tableStyleId>
              </a:tblPr>
              <a:tblGrid>
                <a:gridCol w="6583045"/>
                <a:gridCol w="4663440"/>
              </a:tblGrid>
              <a:tr h="365760">
                <a:tc>
                  <a:txBody>
                    <a:bodyPr/>
                    <a:p>
                      <a:pPr algn="ctr">
                        <a:buNone/>
                      </a:pPr>
                      <a:r>
                        <a:rPr lang="en-US"/>
                        <a:t>Advantages</a:t>
                      </a:r>
                      <a:endParaRPr lang="en-US"/>
                    </a:p>
                  </a:txBody>
                  <a:tcPr/>
                </a:tc>
                <a:tc>
                  <a:txBody>
                    <a:bodyPr/>
                    <a:p>
                      <a:pPr algn="ctr">
                        <a:buNone/>
                      </a:pPr>
                      <a:r>
                        <a:rPr lang="en-US"/>
                        <a:t>Disadvantages</a:t>
                      </a:r>
                      <a:endParaRPr lang="en-US"/>
                    </a:p>
                  </a:txBody>
                  <a:tcPr/>
                </a:tc>
              </a:tr>
              <a:tr h="822960">
                <a:tc>
                  <a:txBody>
                    <a:bodyPr/>
                    <a:p>
                      <a:pPr>
                        <a:buNone/>
                      </a:pPr>
                      <a:r>
                        <a:rPr lang="en-US" sz="1600"/>
                        <a:t>Easily identifies Trends and Patterns - </a:t>
                      </a:r>
                      <a:r>
                        <a:rPr lang="en-US" sz="1600">
                          <a:sym typeface="+mn-ea"/>
                        </a:rPr>
                        <a:t>ML can review large volumes of data and discover specific trends and patterns that would not be apparent to humans</a:t>
                      </a:r>
                      <a:endParaRPr lang="en-US" sz="1600"/>
                    </a:p>
                  </a:txBody>
                  <a:tcPr/>
                </a:tc>
                <a:tc>
                  <a:txBody>
                    <a:bodyPr/>
                    <a:p>
                      <a:pPr>
                        <a:buNone/>
                      </a:pPr>
                      <a:r>
                        <a:rPr lang="en-US" sz="1600"/>
                        <a:t>Data Acquisition - </a:t>
                      </a:r>
                      <a:r>
                        <a:rPr lang="en-US" sz="1600">
                          <a:sym typeface="+mn-ea"/>
                        </a:rPr>
                        <a:t>Requires massive data sets to train on, and these should be inclusive/unbiased, and of good quality.</a:t>
                      </a:r>
                      <a:endParaRPr lang="en-US" sz="1600"/>
                    </a:p>
                  </a:txBody>
                  <a:tcPr/>
                </a:tc>
              </a:tr>
              <a:tr h="1066800">
                <a:tc>
                  <a:txBody>
                    <a:bodyPr/>
                    <a:p>
                      <a:pPr>
                        <a:buNone/>
                      </a:pPr>
                      <a:r>
                        <a:rPr lang="en-US" sz="1600"/>
                        <a:t>No Human intervention needed - </a:t>
                      </a:r>
                      <a:r>
                        <a:rPr lang="en-US" sz="1600">
                          <a:sym typeface="+mn-ea"/>
                        </a:rPr>
                        <a:t>Machines have the ability to learn, it lets them make predictions and also improve the algorithms on their own</a:t>
                      </a:r>
                      <a:endParaRPr lang="en-US" sz="1600"/>
                    </a:p>
                  </a:txBody>
                  <a:tcPr/>
                </a:tc>
                <a:tc>
                  <a:txBody>
                    <a:bodyPr/>
                    <a:p>
                      <a:pPr>
                        <a:buNone/>
                      </a:pPr>
                      <a:r>
                        <a:rPr lang="en-US" sz="1600"/>
                        <a:t>Time and Resources - </a:t>
                      </a:r>
                      <a:r>
                        <a:rPr lang="en-US" sz="1600">
                          <a:sym typeface="+mn-ea"/>
                        </a:rPr>
                        <a:t>ML needs enough time to let the algorithms learn and develop enough to fulfill their purpose with a considerable amount of accuracy and relevancy</a:t>
                      </a:r>
                      <a:endParaRPr lang="en-US" sz="1600"/>
                    </a:p>
                  </a:txBody>
                  <a:tcPr/>
                </a:tc>
              </a:tr>
              <a:tr h="1066800">
                <a:tc>
                  <a:txBody>
                    <a:bodyPr/>
                    <a:p>
                      <a:pPr>
                        <a:buNone/>
                      </a:pPr>
                      <a:r>
                        <a:rPr lang="en-US" sz="1600"/>
                        <a:t>Continuous Improvement - </a:t>
                      </a:r>
                      <a:r>
                        <a:rPr lang="en-US" sz="1600">
                          <a:sym typeface="+mn-ea"/>
                        </a:rPr>
                        <a:t>As ML algorithms gain experience, they keep improving in accuracy and efficiency.</a:t>
                      </a:r>
                      <a:endParaRPr lang="en-US" sz="1600"/>
                    </a:p>
                  </a:txBody>
                  <a:tcPr/>
                </a:tc>
                <a:tc>
                  <a:txBody>
                    <a:bodyPr/>
                    <a:p>
                      <a:pPr>
                        <a:buNone/>
                      </a:pPr>
                      <a:r>
                        <a:rPr lang="en-US" sz="1600"/>
                        <a:t>Interpretation of Results - </a:t>
                      </a:r>
                      <a:r>
                        <a:rPr lang="en-US" sz="1600">
                          <a:sym typeface="+mn-ea"/>
                        </a:rPr>
                        <a:t>the ability to accurately interpret results generated by the algorithms. You must also carefully choose the algorithms for your purpose.</a:t>
                      </a:r>
                      <a:endParaRPr lang="en-US" sz="1600"/>
                    </a:p>
                  </a:txBody>
                  <a:tcPr/>
                </a:tc>
              </a:tr>
              <a:tr h="822960">
                <a:tc>
                  <a:txBody>
                    <a:bodyPr/>
                    <a:p>
                      <a:pPr>
                        <a:buNone/>
                      </a:pPr>
                      <a:r>
                        <a:rPr lang="en-US" sz="1600"/>
                        <a:t>Handling multi-dimensional and multi-variety data - </a:t>
                      </a:r>
                      <a:r>
                        <a:rPr lang="en-US" sz="1600">
                          <a:sym typeface="+mn-ea"/>
                        </a:rPr>
                        <a:t>ML algorithms are good at handling data that are multi-dimensional and multi-variety, and they can do this in dynamic or uncertain environments</a:t>
                      </a:r>
                      <a:endParaRPr lang="en-US" sz="1600"/>
                    </a:p>
                  </a:txBody>
                  <a:tcPr/>
                </a:tc>
                <a:tc>
                  <a:txBody>
                    <a:bodyPr/>
                    <a:p>
                      <a:pPr>
                        <a:buNone/>
                      </a:pPr>
                      <a:r>
                        <a:rPr lang="en-US" sz="1600"/>
                        <a:t>High error-susceptibility</a:t>
                      </a:r>
                      <a:endParaRPr lang="en-US" sz="1600"/>
                    </a:p>
                  </a:txBody>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Ethical Challenges</a:t>
            </a:r>
            <a:endParaRPr lang="en-US" sz="2400" b="1" dirty="0"/>
          </a:p>
        </p:txBody>
      </p:sp>
      <p:sp>
        <p:nvSpPr>
          <p:cNvPr id="10" name="Rectangles 9"/>
          <p:cNvSpPr/>
          <p:nvPr/>
        </p:nvSpPr>
        <p:spPr bwMode="blackWhite">
          <a:xfrm>
            <a:off x="678815" y="1786255"/>
            <a:ext cx="11025505" cy="2528570"/>
          </a:xfrm>
          <a:prstGeom prst="rect">
            <a:avLst/>
          </a:prstGeom>
          <a:gradFill rotWithShape="1">
            <a:gsLst>
              <a:gs pos="0">
                <a:srgbClr val="80CBE6">
                  <a:shade val="51000"/>
                  <a:satMod val="130000"/>
                </a:srgbClr>
              </a:gs>
              <a:gs pos="80000">
                <a:srgbClr val="80CBE6">
                  <a:shade val="93000"/>
                  <a:satMod val="130000"/>
                </a:srgbClr>
              </a:gs>
              <a:gs pos="100000">
                <a:srgbClr val="80CBE6">
                  <a:shade val="94000"/>
                  <a:satMod val="135000"/>
                </a:srgbClr>
              </a:gs>
            </a:gsLst>
            <a:lin ang="16200000" scaled="0"/>
          </a:gradFill>
          <a:ln w="9525" cap="flat" cmpd="sng" algn="ctr">
            <a:solidFill>
              <a:srgbClr val="80CBE6">
                <a:shade val="95000"/>
                <a:satMod val="105000"/>
              </a:srgbClr>
            </a:solidFill>
            <a:prstDash val="solid"/>
          </a:ln>
          <a:effectLst>
            <a:outerShdw blurRad="40000" dist="23000" dir="5400000" rotWithShape="0">
              <a:srgbClr val="000000">
                <a:alpha val="35000"/>
              </a:srgbClr>
            </a:outerShdw>
          </a:effectLst>
        </p:spPr>
        <p:txBody>
          <a:bodyPr wrap="square" lIns="45720" tIns="18288" rIns="45720" bIns="18288" rtlCol="0" anchor="ctr">
            <a:spAutoFit/>
          </a:bodyPr>
          <a:p>
            <a:pPr lvl="0" algn="just" eaLnBrk="0" hangingPunct="0">
              <a:spcBef>
                <a:spcPct val="50000"/>
              </a:spcBef>
              <a:buClrTx/>
              <a:buSzTx/>
              <a:buFontTx/>
              <a:defRPr/>
            </a:pPr>
            <a:r>
              <a:rPr lang="en-US" kern="0" dirty="0">
                <a:solidFill>
                  <a:srgbClr val="000000"/>
                </a:solidFill>
                <a:cs typeface="Arial" panose="020B0604020202020204" pitchFamily="34" charset="0"/>
                <a:sym typeface="+mn-ea"/>
              </a:rPr>
              <a:t>There are some ethical challenges that Machine Learning presents:</a:t>
            </a:r>
            <a:endParaRPr lang="en-US" kern="0" dirty="0">
              <a:solidFill>
                <a:srgbClr val="000000"/>
              </a:solidFill>
              <a:cs typeface="Arial" panose="020B0604020202020204" pitchFamily="34" charset="0"/>
              <a:sym typeface="+mn-ea"/>
            </a:endParaRPr>
          </a:p>
          <a:p>
            <a:pPr marL="742950" lvl="1" indent="-285750" algn="just"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Digitization of cultural prejudices on use of systems trained on biased datasets (algorithmic bias)</a:t>
            </a:r>
            <a:endParaRPr lang="en-US" kern="0" dirty="0">
              <a:solidFill>
                <a:srgbClr val="000000"/>
              </a:solidFill>
              <a:cs typeface="Arial" panose="020B0604020202020204" pitchFamily="34" charset="0"/>
              <a:sym typeface="+mn-ea"/>
            </a:endParaRPr>
          </a:p>
          <a:p>
            <a:pPr marL="742950" lvl="1" indent="-285750" algn="just"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Training of machines on languages corpora that contain biases</a:t>
            </a:r>
            <a:endParaRPr lang="en-US" kern="0" dirty="0">
              <a:solidFill>
                <a:srgbClr val="000000"/>
              </a:solidFill>
              <a:cs typeface="Arial" panose="020B0604020202020204" pitchFamily="34" charset="0"/>
              <a:sym typeface="+mn-ea"/>
            </a:endParaRPr>
          </a:p>
          <a:p>
            <a:pPr marL="742950" lvl="1" indent="-285750" algn="just" eaLnBrk="0" hangingPunct="0">
              <a:spcBef>
                <a:spcPct val="50000"/>
              </a:spcBef>
              <a:buClrTx/>
              <a:buSzTx/>
              <a:buFont typeface="Arial" panose="020B0604020202020204" pitchFamily="34" charset="0"/>
              <a:buChar char="•"/>
              <a:defRPr/>
            </a:pPr>
            <a:r>
              <a:rPr lang="en-US" kern="0" dirty="0">
                <a:solidFill>
                  <a:srgbClr val="000000"/>
                </a:solidFill>
                <a:cs typeface="Arial" panose="020B0604020202020204" pitchFamily="34" charset="0"/>
                <a:sym typeface="+mn-ea"/>
              </a:rPr>
              <a:t>The possibility that these systems in the health care field might be designed not in public interest, but to boost income</a:t>
            </a:r>
            <a:endParaRPr lang="en-US" kern="0" dirty="0">
              <a:solidFill>
                <a:srgbClr val="000000"/>
              </a:solidFill>
              <a:cs typeface="Arial" panose="020B0604020202020204" pitchFamily="34" charset="0"/>
              <a:sym typeface="+mn-ea"/>
            </a:endParaRPr>
          </a:p>
          <a:p>
            <a:pPr lvl="1" indent="0" algn="just" eaLnBrk="0" hangingPunct="0">
              <a:spcBef>
                <a:spcPct val="50000"/>
              </a:spcBef>
              <a:buClrTx/>
              <a:buSzTx/>
              <a:buFont typeface="Arial" panose="020B0604020202020204" pitchFamily="34" charset="0"/>
              <a:buNone/>
              <a:defRPr/>
            </a:pPr>
            <a:r>
              <a:rPr lang="en-US" kern="0" dirty="0">
                <a:solidFill>
                  <a:srgbClr val="000000"/>
                </a:solidFill>
                <a:cs typeface="Arial" panose="020B0604020202020204" pitchFamily="34" charset="0"/>
                <a:sym typeface="+mn-ea"/>
              </a:rPr>
              <a:t>While Machine Learning can prove to be really effective in improving health care, these ethical questions must be addressed first.</a:t>
            </a:r>
            <a:endParaRPr lang="en-US" kern="0" dirty="0">
              <a:solidFill>
                <a:srgbClr val="000000"/>
              </a:solidFill>
              <a:cs typeface="Arial" panose="020B0604020202020204" pitchFamily="34" charset="0"/>
              <a:sym typeface="+mn-ea"/>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cOLV5mW.q0KZi163Pl1yLQ"/>
</p:tagLst>
</file>

<file path=ppt/tags/tag12.xml><?xml version="1.0" encoding="utf-8"?>
<p:tagLst xmlns:p="http://schemas.openxmlformats.org/presentationml/2006/main">
  <p:tag name="THINKCELLSHAPEDONOTDELETE" val="pjfCn1rK4qUmp5lj5ISq8x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pu8VTg_P6rkuq_fbZG2oYXw"/>
</p:tagLst>
</file>

<file path=ppt/tags/tag15.xml><?xml version="1.0" encoding="utf-8"?>
<p:tagLst xmlns:p="http://schemas.openxmlformats.org/presentationml/2006/main">
  <p:tag name="THINKCELLSHAPEDONOTDELETE" val="pPHldxlhBv0miWYXN6H8BTQ"/>
</p:tagLst>
</file>

<file path=ppt/tags/tag16.xml><?xml version="1.0" encoding="utf-8"?>
<p:tagLst xmlns:p="http://schemas.openxmlformats.org/presentationml/2006/main">
  <p:tag name="THINKCELLSHAPEDONOTDELETE" val="pxzY4oecJCE2aPB.u6loWPw"/>
</p:tagLst>
</file>

<file path=ppt/tags/tag17.xml><?xml version="1.0" encoding="utf-8"?>
<p:tagLst xmlns:p="http://schemas.openxmlformats.org/presentationml/2006/main">
  <p:tag name="THINKCELLSHAPEDONOTDELETE" val="phk.3W3rhiEqWtBDEsi7Xgw"/>
</p:tagLst>
</file>

<file path=ppt/tags/tag18.xml><?xml version="1.0" encoding="utf-8"?>
<p:tagLst xmlns:p="http://schemas.openxmlformats.org/presentationml/2006/main">
  <p:tag name="THINKCELLSHAPEDONOTDELETE" val="p1xI4A68crEiZSNCDbGy9gA"/>
</p:tagLst>
</file>

<file path=ppt/tags/tag19.xml><?xml version="1.0" encoding="utf-8"?>
<p:tagLst xmlns:p="http://schemas.openxmlformats.org/presentationml/2006/main">
  <p:tag name="THINKCELLSHAPEDONOTDELETE" val="poGq5J2dxDUm3Ma.7NhQKKA"/>
</p:tagLst>
</file>

<file path=ppt/tags/tag2.xml><?xml version="1.0" encoding="utf-8"?>
<p:tagLst xmlns:p="http://schemas.openxmlformats.org/presentationml/2006/main">
  <p:tag name="THINKCELLSHAPEDONOTDELETE" val="phk.3W3rhiEqWtBDEsi7Xgw"/>
</p:tagLst>
</file>

<file path=ppt/tags/tag20.xml><?xml version="1.0" encoding="utf-8"?>
<p:tagLst xmlns:p="http://schemas.openxmlformats.org/presentationml/2006/main">
  <p:tag name="THINKCELLSHAPEDONOTDELETE" val="pzTl75Tp2nEy_4PpazGLtVA"/>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pjDnCrkojv0SGcwHGEYrPFQ"/>
</p:tagLst>
</file>

<file path=ppt/tags/tag23.xml><?xml version="1.0" encoding="utf-8"?>
<p:tagLst xmlns:p="http://schemas.openxmlformats.org/presentationml/2006/main">
  <p:tag name="THINKCELLSHAPEDONOTDELETE" val="ppOFNbajSUEaO0T7L3_MyVA"/>
</p:tagLst>
</file>

<file path=ppt/tags/tag24.xml><?xml version="1.0" encoding="utf-8"?>
<p:tagLst xmlns:p="http://schemas.openxmlformats.org/presentationml/2006/main">
  <p:tag name="THINKCELLSHAPEDONOTDELETE" val="pzDbv4V7vT0WxnXgCD5MXWQ"/>
</p:tagLst>
</file>

<file path=ppt/tags/tag25.xml><?xml version="1.0" encoding="utf-8"?>
<p:tagLst xmlns:p="http://schemas.openxmlformats.org/presentationml/2006/main">
  <p:tag name="THINKCELLSHAPEDONOTDELETE" val="pe11Y1Bb0l0irz8SJoiUMeg"/>
</p:tagLst>
</file>

<file path=ppt/tags/tag26.xml><?xml version="1.0" encoding="utf-8"?>
<p:tagLst xmlns:p="http://schemas.openxmlformats.org/presentationml/2006/main">
  <p:tag name="THINKCELLSHAPEDONOTDELETE" val="pZmxc0iXCQkmeiJMOi0JxKg"/>
</p:tagLst>
</file>

<file path=ppt/tags/tag27.xml><?xml version="1.0" encoding="utf-8"?>
<p:tagLst xmlns:p="http://schemas.openxmlformats.org/presentationml/2006/main">
  <p:tag name="THINKCELLSHAPEDONOTDELETE" val="pcF9GXJfe4kWec6UHbfCPKw"/>
</p:tagLst>
</file>

<file path=ppt/tags/tag28.xml><?xml version="1.0" encoding="utf-8"?>
<p:tagLst xmlns:p="http://schemas.openxmlformats.org/presentationml/2006/main">
  <p:tag name="THINKCELLSHAPEDONOTDELETE" val="p6kAk9o_lW0Ov.hm_5XvnyQ"/>
</p:tagLst>
</file>

<file path=ppt/tags/tag29.xml><?xml version="1.0" encoding="utf-8"?>
<p:tagLst xmlns:p="http://schemas.openxmlformats.org/presentationml/2006/main">
  <p:tag name="THINKCELLSHAPEDONOTDELETE" val="pOxU61rCZf0ui2sg3.Ux._w"/>
</p:tagLst>
</file>

<file path=ppt/tags/tag3.xml><?xml version="1.0" encoding="utf-8"?>
<p:tagLst xmlns:p="http://schemas.openxmlformats.org/presentationml/2006/main">
  <p:tag name="THINKCELLSHAPEDONOTDELETE" val="pzTl75Tp2nEy_4PpazGLtVA"/>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rGIuHW8gFUKsEtFJDZy1Q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hk.3W3rhiEqWtBDEsi7Xgw"/>
</p:tagLst>
</file>

<file path=ppt/tags/tag8.xml><?xml version="1.0" encoding="utf-8"?>
<p:tagLst xmlns:p="http://schemas.openxmlformats.org/presentationml/2006/main">
  <p:tag name="THINKCELLSHAPEDONOTDELETE" val="pzTl75Tp2nEy_4PpazGLtVA"/>
</p:tagLst>
</file>

<file path=ppt/tags/tag9.xml><?xml version="1.0" encoding="utf-8"?>
<p:tagLst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0</TotalTime>
  <Words>4570</Words>
  <Application>WPS Presentation</Application>
  <PresentationFormat>Widescreen</PresentationFormat>
  <Paragraphs>79</Paragraphs>
  <Slides>9</Slides>
  <Notes>1</Notes>
  <HiddenSlides>0</HiddenSlides>
  <MMClips>0</MMClips>
  <ScaleCrop>false</ScaleCrop>
  <HeadingPairs>
    <vt:vector size="8" baseType="variant">
      <vt:variant>
        <vt:lpstr>已用的字体</vt:lpstr>
      </vt:variant>
      <vt:variant>
        <vt:i4>14</vt:i4>
      </vt:variant>
      <vt:variant>
        <vt:lpstr>主题</vt:lpstr>
      </vt:variant>
      <vt:variant>
        <vt:i4>3</vt:i4>
      </vt:variant>
      <vt:variant>
        <vt:lpstr>嵌入 OLE 服务器</vt:lpstr>
      </vt:variant>
      <vt:variant>
        <vt:i4>0</vt:i4>
      </vt:variant>
      <vt:variant>
        <vt:lpstr>幻灯片标题</vt:lpstr>
      </vt:variant>
      <vt:variant>
        <vt:i4>9</vt:i4>
      </vt:variant>
    </vt:vector>
  </HeadingPairs>
  <TitlesOfParts>
    <vt:vector size="26" baseType="lpstr">
      <vt:lpstr>Arial</vt:lpstr>
      <vt:lpstr>SimSun</vt:lpstr>
      <vt:lpstr>Wingdings</vt:lpstr>
      <vt:lpstr>Trebuchet MS</vt:lpstr>
      <vt:lpstr>Wingdings 2</vt:lpstr>
      <vt:lpstr>Helvetica Light</vt:lpstr>
      <vt:lpstr>Arial</vt:lpstr>
      <vt:lpstr>Arial Nova</vt:lpstr>
      <vt:lpstr>Calibri</vt:lpstr>
      <vt:lpstr>Times New Roman</vt:lpstr>
      <vt:lpstr>Arial Nova Light</vt:lpstr>
      <vt:lpstr>Microsoft YaHei</vt:lpstr>
      <vt:lpstr>Arial Unicode MS</vt:lpstr>
      <vt:lpstr>Arial Nova</vt:lpstr>
      <vt:lpstr>SlateVTI</vt:lpstr>
      <vt:lpstr>ppt_Template_Capgemini</vt:lpstr>
      <vt:lpstr>Closing slides</vt:lpstr>
      <vt:lpstr>Introduction to Data Science</vt:lpstr>
      <vt:lpstr>Agenda</vt:lpstr>
      <vt:lpstr>Executive Summary – Data Science Powers Business Value</vt:lpstr>
      <vt:lpstr>Data Science Simplified</vt:lpstr>
      <vt:lpstr>Why it is important?</vt:lpstr>
      <vt:lpstr>How does it work?</vt:lpstr>
      <vt:lpstr>Types of Machine Learning?</vt:lpstr>
      <vt:lpstr>Business Applications</vt:lpstr>
      <vt:lpstr>Ethical Challeng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cp:lastModifiedBy>
  <cp:revision>39</cp:revision>
  <dcterms:created xsi:type="dcterms:W3CDTF">2021-03-21T15:48:00Z</dcterms:created>
  <dcterms:modified xsi:type="dcterms:W3CDTF">2021-06-03T04:4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0132</vt:lpwstr>
  </property>
</Properties>
</file>